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9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6"/>
  </p:notesMasterIdLst>
  <p:handoutMasterIdLst>
    <p:handoutMasterId r:id="rId17"/>
  </p:handoutMasterIdLst>
  <p:sldIdLst>
    <p:sldId id="258" r:id="rId3"/>
    <p:sldId id="256" r:id="rId4"/>
    <p:sldId id="268" r:id="rId5"/>
    <p:sldId id="260" r:id="rId6"/>
    <p:sldId id="261" r:id="rId7"/>
    <p:sldId id="262" r:id="rId8"/>
    <p:sldId id="263" r:id="rId9"/>
    <p:sldId id="264" r:id="rId10"/>
    <p:sldId id="269" r:id="rId11"/>
    <p:sldId id="271" r:id="rId12"/>
    <p:sldId id="272" r:id="rId13"/>
    <p:sldId id="270" r:id="rId14"/>
    <p:sldId id="267" r:id="rId15"/>
  </p:sldIdLst>
  <p:sldSz cx="9144000" cy="6858000" type="screen4x3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70" d="100"/>
          <a:sy n="70" d="100"/>
        </p:scale>
        <p:origin x="-378" y="4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5A7A8D0-18A4-4AB7-904C-641969A97989}" type="doc">
      <dgm:prSet loTypeId="urn:microsoft.com/office/officeart/2005/8/layout/radial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cs-CZ"/>
        </a:p>
      </dgm:t>
    </dgm:pt>
    <dgm:pt modelId="{B0B07707-5F90-4767-B441-6E886740BCB5}">
      <dgm:prSet phldrT="[Text]"/>
      <dgm:spPr/>
      <dgm:t>
        <a:bodyPr/>
        <a:lstStyle/>
        <a:p>
          <a:r>
            <a:rPr lang="cs-CZ" dirty="0" smtClean="0"/>
            <a:t>Soft </a:t>
          </a:r>
          <a:r>
            <a:rPr lang="cs-CZ" dirty="0" err="1" smtClean="0"/>
            <a:t>skills</a:t>
          </a:r>
          <a:endParaRPr lang="cs-CZ" dirty="0"/>
        </a:p>
      </dgm:t>
    </dgm:pt>
    <dgm:pt modelId="{A22B63DC-F006-4ADC-94C3-E96B970C9B64}" type="parTrans" cxnId="{90BE8B9E-9C0C-4BCD-8011-1490293B2970}">
      <dgm:prSet/>
      <dgm:spPr/>
      <dgm:t>
        <a:bodyPr/>
        <a:lstStyle/>
        <a:p>
          <a:endParaRPr lang="cs-CZ"/>
        </a:p>
      </dgm:t>
    </dgm:pt>
    <dgm:pt modelId="{F2170C75-ED8F-4876-A045-359DB44EACED}" type="sibTrans" cxnId="{90BE8B9E-9C0C-4BCD-8011-1490293B2970}">
      <dgm:prSet/>
      <dgm:spPr/>
      <dgm:t>
        <a:bodyPr/>
        <a:lstStyle/>
        <a:p>
          <a:endParaRPr lang="cs-CZ"/>
        </a:p>
      </dgm:t>
    </dgm:pt>
    <dgm:pt modelId="{32D630A1-E16F-4D8E-B159-7FA6EA4C689C}">
      <dgm:prSet phldrT="[Text]" custT="1"/>
      <dgm:spPr/>
      <dgm:t>
        <a:bodyPr/>
        <a:lstStyle/>
        <a:p>
          <a:r>
            <a:rPr lang="cs-CZ" sz="1800" dirty="0" smtClean="0"/>
            <a:t>Analytické a kritické myšlení</a:t>
          </a:r>
          <a:endParaRPr lang="cs-CZ" sz="1800" dirty="0"/>
        </a:p>
      </dgm:t>
    </dgm:pt>
    <dgm:pt modelId="{162F2231-BBA3-426F-ADAB-B62AF9AD48C1}" type="sibTrans" cxnId="{5A33F0C5-BB42-4BB5-93E4-798534E5FAD8}">
      <dgm:prSet/>
      <dgm:spPr/>
      <dgm:t>
        <a:bodyPr/>
        <a:lstStyle/>
        <a:p>
          <a:endParaRPr lang="cs-CZ"/>
        </a:p>
      </dgm:t>
    </dgm:pt>
    <dgm:pt modelId="{E2E370C4-8CED-4848-8B39-BC3D3F666DA0}" type="parTrans" cxnId="{5A33F0C5-BB42-4BB5-93E4-798534E5FAD8}">
      <dgm:prSet/>
      <dgm:spPr/>
      <dgm:t>
        <a:bodyPr/>
        <a:lstStyle/>
        <a:p>
          <a:endParaRPr lang="cs-CZ"/>
        </a:p>
      </dgm:t>
    </dgm:pt>
    <dgm:pt modelId="{68675406-4AAC-4F80-9D74-B00B03450894}">
      <dgm:prSet phldrT="[Text]"/>
      <dgm:spPr/>
      <dgm:t>
        <a:bodyPr/>
        <a:lstStyle/>
        <a:p>
          <a:r>
            <a:rPr lang="cs-CZ" dirty="0" smtClean="0"/>
            <a:t>Organizace práce</a:t>
          </a:r>
          <a:endParaRPr lang="cs-CZ" dirty="0"/>
        </a:p>
      </dgm:t>
    </dgm:pt>
    <dgm:pt modelId="{C6870D61-46B6-4B99-B57E-F0371A43DBD0}" type="sibTrans" cxnId="{5B18770F-8486-4CF3-B884-B52487D287EC}">
      <dgm:prSet/>
      <dgm:spPr/>
      <dgm:t>
        <a:bodyPr/>
        <a:lstStyle/>
        <a:p>
          <a:endParaRPr lang="cs-CZ"/>
        </a:p>
      </dgm:t>
    </dgm:pt>
    <dgm:pt modelId="{33A7BC51-CC58-4C62-B1A7-B849FC506119}" type="parTrans" cxnId="{5B18770F-8486-4CF3-B884-B52487D287EC}">
      <dgm:prSet/>
      <dgm:spPr/>
      <dgm:t>
        <a:bodyPr/>
        <a:lstStyle/>
        <a:p>
          <a:endParaRPr lang="cs-CZ"/>
        </a:p>
      </dgm:t>
    </dgm:pt>
    <dgm:pt modelId="{0700E1D0-FC5E-4879-9093-8E35681122D2}">
      <dgm:prSet phldrT="[Text]" custT="1"/>
      <dgm:spPr/>
      <dgm:t>
        <a:bodyPr/>
        <a:lstStyle/>
        <a:p>
          <a:r>
            <a:rPr lang="cs-CZ" sz="1800" dirty="0" err="1" smtClean="0"/>
            <a:t>Interkulturalita</a:t>
          </a:r>
          <a:r>
            <a:rPr lang="cs-CZ" sz="1800" dirty="0" smtClean="0"/>
            <a:t> </a:t>
          </a:r>
          <a:endParaRPr lang="cs-CZ" sz="1800" dirty="0"/>
        </a:p>
      </dgm:t>
    </dgm:pt>
    <dgm:pt modelId="{B39605BD-1AAF-4C91-BB06-EF2974F53E56}" type="sibTrans" cxnId="{BD3B9150-B876-4F60-B300-598B96113A42}">
      <dgm:prSet/>
      <dgm:spPr/>
      <dgm:t>
        <a:bodyPr/>
        <a:lstStyle/>
        <a:p>
          <a:endParaRPr lang="cs-CZ"/>
        </a:p>
      </dgm:t>
    </dgm:pt>
    <dgm:pt modelId="{B0EF7B6D-F159-4FBD-87D1-38B978C21540}" type="parTrans" cxnId="{BD3B9150-B876-4F60-B300-598B96113A42}">
      <dgm:prSet/>
      <dgm:spPr/>
      <dgm:t>
        <a:bodyPr/>
        <a:lstStyle/>
        <a:p>
          <a:endParaRPr lang="cs-CZ"/>
        </a:p>
      </dgm:t>
    </dgm:pt>
    <dgm:pt modelId="{277FD866-8368-4AC0-BC4B-C0708FB4AD6A}">
      <dgm:prSet phldrT="[Text]" custT="1"/>
      <dgm:spPr/>
      <dgm:t>
        <a:bodyPr/>
        <a:lstStyle/>
        <a:p>
          <a:r>
            <a:rPr lang="cs-CZ" sz="1800" dirty="0" smtClean="0"/>
            <a:t>Schopnost syntézy a srovnání</a:t>
          </a:r>
          <a:endParaRPr lang="cs-CZ" sz="1800" dirty="0"/>
        </a:p>
      </dgm:t>
    </dgm:pt>
    <dgm:pt modelId="{0DF498F5-AFD1-4C0B-9CF8-AA3D393C6104}" type="sibTrans" cxnId="{D05D0B42-457D-40E6-9CA3-10CAF483E574}">
      <dgm:prSet/>
      <dgm:spPr/>
      <dgm:t>
        <a:bodyPr/>
        <a:lstStyle/>
        <a:p>
          <a:endParaRPr lang="cs-CZ"/>
        </a:p>
      </dgm:t>
    </dgm:pt>
    <dgm:pt modelId="{3FDEE02A-4E60-4773-8CF7-A8CF78D366BD}" type="parTrans" cxnId="{D05D0B42-457D-40E6-9CA3-10CAF483E574}">
      <dgm:prSet/>
      <dgm:spPr/>
      <dgm:t>
        <a:bodyPr/>
        <a:lstStyle/>
        <a:p>
          <a:endParaRPr lang="cs-CZ"/>
        </a:p>
      </dgm:t>
    </dgm:pt>
    <dgm:pt modelId="{CF56E0F2-5CAE-4D94-A0A4-C837201107C6}" type="pres">
      <dgm:prSet presAssocID="{65A7A8D0-18A4-4AB7-904C-641969A97989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cs-CZ"/>
        </a:p>
      </dgm:t>
    </dgm:pt>
    <dgm:pt modelId="{B9ABFD2F-5353-4953-A7A5-DFE681DEE1D3}" type="pres">
      <dgm:prSet presAssocID="{B0B07707-5F90-4767-B441-6E886740BCB5}" presName="centerShape" presStyleLbl="node0" presStyleIdx="0" presStyleCnt="1"/>
      <dgm:spPr/>
      <dgm:t>
        <a:bodyPr/>
        <a:lstStyle/>
        <a:p>
          <a:endParaRPr lang="cs-CZ"/>
        </a:p>
      </dgm:t>
    </dgm:pt>
    <dgm:pt modelId="{C2079146-405E-48C7-846C-65023702F72C}" type="pres">
      <dgm:prSet presAssocID="{E2E370C4-8CED-4848-8B39-BC3D3F666DA0}" presName="Name9" presStyleLbl="parChTrans1D2" presStyleIdx="0" presStyleCnt="4"/>
      <dgm:spPr/>
      <dgm:t>
        <a:bodyPr/>
        <a:lstStyle/>
        <a:p>
          <a:endParaRPr lang="cs-CZ"/>
        </a:p>
      </dgm:t>
    </dgm:pt>
    <dgm:pt modelId="{037C4286-1D90-4678-91A5-6C62BFE2F60A}" type="pres">
      <dgm:prSet presAssocID="{E2E370C4-8CED-4848-8B39-BC3D3F666DA0}" presName="connTx" presStyleLbl="parChTrans1D2" presStyleIdx="0" presStyleCnt="4"/>
      <dgm:spPr/>
      <dgm:t>
        <a:bodyPr/>
        <a:lstStyle/>
        <a:p>
          <a:endParaRPr lang="cs-CZ"/>
        </a:p>
      </dgm:t>
    </dgm:pt>
    <dgm:pt modelId="{9E6DFB75-F01F-4B26-A6DE-4DC29972294A}" type="pres">
      <dgm:prSet presAssocID="{32D630A1-E16F-4D8E-B159-7FA6EA4C689C}" presName="node" presStyleLbl="node1" presStyleIdx="0" presStyleCnt="4" custScaleX="180343" custRadScaleRad="100155" custRadScaleInc="-354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04D602CE-ED04-44D8-A5AA-2162695C57B9}" type="pres">
      <dgm:prSet presAssocID="{33A7BC51-CC58-4C62-B1A7-B849FC506119}" presName="Name9" presStyleLbl="parChTrans1D2" presStyleIdx="1" presStyleCnt="4"/>
      <dgm:spPr/>
      <dgm:t>
        <a:bodyPr/>
        <a:lstStyle/>
        <a:p>
          <a:endParaRPr lang="cs-CZ"/>
        </a:p>
      </dgm:t>
    </dgm:pt>
    <dgm:pt modelId="{C6DDB46B-8F54-45DD-B1C4-0EB5984A755E}" type="pres">
      <dgm:prSet presAssocID="{33A7BC51-CC58-4C62-B1A7-B849FC506119}" presName="connTx" presStyleLbl="parChTrans1D2" presStyleIdx="1" presStyleCnt="4"/>
      <dgm:spPr/>
      <dgm:t>
        <a:bodyPr/>
        <a:lstStyle/>
        <a:p>
          <a:endParaRPr lang="cs-CZ"/>
        </a:p>
      </dgm:t>
    </dgm:pt>
    <dgm:pt modelId="{933B9989-4BF5-4C74-BE5D-78094B317D57}" type="pres">
      <dgm:prSet presAssocID="{68675406-4AAC-4F80-9D74-B00B03450894}" presName="node" presStyleLbl="node1" presStyleIdx="1" presStyleCnt="4" custScaleX="149709" custScaleY="152009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02C4B578-497A-44D8-9F15-1FC7872842DA}" type="pres">
      <dgm:prSet presAssocID="{B0EF7B6D-F159-4FBD-87D1-38B978C21540}" presName="Name9" presStyleLbl="parChTrans1D2" presStyleIdx="2" presStyleCnt="4"/>
      <dgm:spPr/>
      <dgm:t>
        <a:bodyPr/>
        <a:lstStyle/>
        <a:p>
          <a:endParaRPr lang="cs-CZ"/>
        </a:p>
      </dgm:t>
    </dgm:pt>
    <dgm:pt modelId="{62F2A65C-372B-48DC-BACF-DF0E877EBC3B}" type="pres">
      <dgm:prSet presAssocID="{B0EF7B6D-F159-4FBD-87D1-38B978C21540}" presName="connTx" presStyleLbl="parChTrans1D2" presStyleIdx="2" presStyleCnt="4"/>
      <dgm:spPr/>
      <dgm:t>
        <a:bodyPr/>
        <a:lstStyle/>
        <a:p>
          <a:endParaRPr lang="cs-CZ"/>
        </a:p>
      </dgm:t>
    </dgm:pt>
    <dgm:pt modelId="{91E6A95D-DB33-477E-BBE3-FC9CA140CC87}" type="pres">
      <dgm:prSet presAssocID="{0700E1D0-FC5E-4879-9093-8E35681122D2}" presName="node" presStyleLbl="node1" presStyleIdx="2" presStyleCnt="4" custScaleX="210336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90C229FE-916F-4355-B9E2-0ACF63C86B69}" type="pres">
      <dgm:prSet presAssocID="{3FDEE02A-4E60-4773-8CF7-A8CF78D366BD}" presName="Name9" presStyleLbl="parChTrans1D2" presStyleIdx="3" presStyleCnt="4"/>
      <dgm:spPr/>
      <dgm:t>
        <a:bodyPr/>
        <a:lstStyle/>
        <a:p>
          <a:endParaRPr lang="cs-CZ"/>
        </a:p>
      </dgm:t>
    </dgm:pt>
    <dgm:pt modelId="{BE93B69C-142C-44B8-8984-07A2B713879A}" type="pres">
      <dgm:prSet presAssocID="{3FDEE02A-4E60-4773-8CF7-A8CF78D366BD}" presName="connTx" presStyleLbl="parChTrans1D2" presStyleIdx="3" presStyleCnt="4"/>
      <dgm:spPr/>
      <dgm:t>
        <a:bodyPr/>
        <a:lstStyle/>
        <a:p>
          <a:endParaRPr lang="cs-CZ"/>
        </a:p>
      </dgm:t>
    </dgm:pt>
    <dgm:pt modelId="{33F19824-8BA8-4D61-95F5-572252B23A49}" type="pres">
      <dgm:prSet presAssocID="{277FD866-8368-4AC0-BC4B-C0708FB4AD6A}" presName="node" presStyleLbl="node1" presStyleIdx="3" presStyleCnt="4" custScaleX="151980" custScaleY="151849" custRadScaleRad="99293" custRadScaleInc="79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</dgm:ptLst>
  <dgm:cxnLst>
    <dgm:cxn modelId="{7CBB5D82-2EFD-4EF9-BD72-F5CD7D6B0497}" type="presOf" srcId="{68675406-4AAC-4F80-9D74-B00B03450894}" destId="{933B9989-4BF5-4C74-BE5D-78094B317D57}" srcOrd="0" destOrd="0" presId="urn:microsoft.com/office/officeart/2005/8/layout/radial1"/>
    <dgm:cxn modelId="{90BE8B9E-9C0C-4BCD-8011-1490293B2970}" srcId="{65A7A8D0-18A4-4AB7-904C-641969A97989}" destId="{B0B07707-5F90-4767-B441-6E886740BCB5}" srcOrd="0" destOrd="0" parTransId="{A22B63DC-F006-4ADC-94C3-E96B970C9B64}" sibTransId="{F2170C75-ED8F-4876-A045-359DB44EACED}"/>
    <dgm:cxn modelId="{5B18770F-8486-4CF3-B884-B52487D287EC}" srcId="{B0B07707-5F90-4767-B441-6E886740BCB5}" destId="{68675406-4AAC-4F80-9D74-B00B03450894}" srcOrd="1" destOrd="0" parTransId="{33A7BC51-CC58-4C62-B1A7-B849FC506119}" sibTransId="{C6870D61-46B6-4B99-B57E-F0371A43DBD0}"/>
    <dgm:cxn modelId="{187B5B3B-178E-4113-B8E2-36953CB46E7B}" type="presOf" srcId="{3FDEE02A-4E60-4773-8CF7-A8CF78D366BD}" destId="{BE93B69C-142C-44B8-8984-07A2B713879A}" srcOrd="1" destOrd="0" presId="urn:microsoft.com/office/officeart/2005/8/layout/radial1"/>
    <dgm:cxn modelId="{87C46377-68BC-4E5E-B22C-9F3087BC9D3A}" type="presOf" srcId="{B0EF7B6D-F159-4FBD-87D1-38B978C21540}" destId="{62F2A65C-372B-48DC-BACF-DF0E877EBC3B}" srcOrd="1" destOrd="0" presId="urn:microsoft.com/office/officeart/2005/8/layout/radial1"/>
    <dgm:cxn modelId="{B71FDAF3-1995-4F1F-A8E7-90511C753341}" type="presOf" srcId="{E2E370C4-8CED-4848-8B39-BC3D3F666DA0}" destId="{C2079146-405E-48C7-846C-65023702F72C}" srcOrd="0" destOrd="0" presId="urn:microsoft.com/office/officeart/2005/8/layout/radial1"/>
    <dgm:cxn modelId="{590A2198-84CE-4BFF-A24A-9BB16C7A597E}" type="presOf" srcId="{3FDEE02A-4E60-4773-8CF7-A8CF78D366BD}" destId="{90C229FE-916F-4355-B9E2-0ACF63C86B69}" srcOrd="0" destOrd="0" presId="urn:microsoft.com/office/officeart/2005/8/layout/radial1"/>
    <dgm:cxn modelId="{5A33F0C5-BB42-4BB5-93E4-798534E5FAD8}" srcId="{B0B07707-5F90-4767-B441-6E886740BCB5}" destId="{32D630A1-E16F-4D8E-B159-7FA6EA4C689C}" srcOrd="0" destOrd="0" parTransId="{E2E370C4-8CED-4848-8B39-BC3D3F666DA0}" sibTransId="{162F2231-BBA3-426F-ADAB-B62AF9AD48C1}"/>
    <dgm:cxn modelId="{4A86793A-C87F-4C99-B7EB-FE2E427AE85C}" type="presOf" srcId="{E2E370C4-8CED-4848-8B39-BC3D3F666DA0}" destId="{037C4286-1D90-4678-91A5-6C62BFE2F60A}" srcOrd="1" destOrd="0" presId="urn:microsoft.com/office/officeart/2005/8/layout/radial1"/>
    <dgm:cxn modelId="{BD3B9150-B876-4F60-B300-598B96113A42}" srcId="{B0B07707-5F90-4767-B441-6E886740BCB5}" destId="{0700E1D0-FC5E-4879-9093-8E35681122D2}" srcOrd="2" destOrd="0" parTransId="{B0EF7B6D-F159-4FBD-87D1-38B978C21540}" sibTransId="{B39605BD-1AAF-4C91-BB06-EF2974F53E56}"/>
    <dgm:cxn modelId="{13AF6D22-6C51-4A97-9D3A-DBEA4394412F}" type="presOf" srcId="{33A7BC51-CC58-4C62-B1A7-B849FC506119}" destId="{04D602CE-ED04-44D8-A5AA-2162695C57B9}" srcOrd="0" destOrd="0" presId="urn:microsoft.com/office/officeart/2005/8/layout/radial1"/>
    <dgm:cxn modelId="{037B0EE4-BD17-4649-A11C-3398E9B1799E}" type="presOf" srcId="{277FD866-8368-4AC0-BC4B-C0708FB4AD6A}" destId="{33F19824-8BA8-4D61-95F5-572252B23A49}" srcOrd="0" destOrd="0" presId="urn:microsoft.com/office/officeart/2005/8/layout/radial1"/>
    <dgm:cxn modelId="{034D59B3-990B-428D-9EE7-E6BDAAB142FD}" type="presOf" srcId="{65A7A8D0-18A4-4AB7-904C-641969A97989}" destId="{CF56E0F2-5CAE-4D94-A0A4-C837201107C6}" srcOrd="0" destOrd="0" presId="urn:microsoft.com/office/officeart/2005/8/layout/radial1"/>
    <dgm:cxn modelId="{72BF6DB3-4ED6-40B4-A583-CF2056210D35}" type="presOf" srcId="{B0B07707-5F90-4767-B441-6E886740BCB5}" destId="{B9ABFD2F-5353-4953-A7A5-DFE681DEE1D3}" srcOrd="0" destOrd="0" presId="urn:microsoft.com/office/officeart/2005/8/layout/radial1"/>
    <dgm:cxn modelId="{48ABA805-A04A-48CC-A611-4E68074F4BE9}" type="presOf" srcId="{0700E1D0-FC5E-4879-9093-8E35681122D2}" destId="{91E6A95D-DB33-477E-BBE3-FC9CA140CC87}" srcOrd="0" destOrd="0" presId="urn:microsoft.com/office/officeart/2005/8/layout/radial1"/>
    <dgm:cxn modelId="{CD437F1F-7B99-4A13-8917-128057CE65B0}" type="presOf" srcId="{33A7BC51-CC58-4C62-B1A7-B849FC506119}" destId="{C6DDB46B-8F54-45DD-B1C4-0EB5984A755E}" srcOrd="1" destOrd="0" presId="urn:microsoft.com/office/officeart/2005/8/layout/radial1"/>
    <dgm:cxn modelId="{DE60DE9B-F2FB-4548-AB1D-30AF443A22D6}" type="presOf" srcId="{32D630A1-E16F-4D8E-B159-7FA6EA4C689C}" destId="{9E6DFB75-F01F-4B26-A6DE-4DC29972294A}" srcOrd="0" destOrd="0" presId="urn:microsoft.com/office/officeart/2005/8/layout/radial1"/>
    <dgm:cxn modelId="{D05D0B42-457D-40E6-9CA3-10CAF483E574}" srcId="{B0B07707-5F90-4767-B441-6E886740BCB5}" destId="{277FD866-8368-4AC0-BC4B-C0708FB4AD6A}" srcOrd="3" destOrd="0" parTransId="{3FDEE02A-4E60-4773-8CF7-A8CF78D366BD}" sibTransId="{0DF498F5-AFD1-4C0B-9CF8-AA3D393C6104}"/>
    <dgm:cxn modelId="{3B34DB8E-32E7-4BD4-AC14-6109CB892B96}" type="presOf" srcId="{B0EF7B6D-F159-4FBD-87D1-38B978C21540}" destId="{02C4B578-497A-44D8-9F15-1FC7872842DA}" srcOrd="0" destOrd="0" presId="urn:microsoft.com/office/officeart/2005/8/layout/radial1"/>
    <dgm:cxn modelId="{953EB01D-7515-4BA0-83DF-23C6A7AB381F}" type="presParOf" srcId="{CF56E0F2-5CAE-4D94-A0A4-C837201107C6}" destId="{B9ABFD2F-5353-4953-A7A5-DFE681DEE1D3}" srcOrd="0" destOrd="0" presId="urn:microsoft.com/office/officeart/2005/8/layout/radial1"/>
    <dgm:cxn modelId="{9DC4D44C-C6C0-4128-8647-406C207A63CA}" type="presParOf" srcId="{CF56E0F2-5CAE-4D94-A0A4-C837201107C6}" destId="{C2079146-405E-48C7-846C-65023702F72C}" srcOrd="1" destOrd="0" presId="urn:microsoft.com/office/officeart/2005/8/layout/radial1"/>
    <dgm:cxn modelId="{AE235086-F5A7-4724-A242-BAFE0F517C8F}" type="presParOf" srcId="{C2079146-405E-48C7-846C-65023702F72C}" destId="{037C4286-1D90-4678-91A5-6C62BFE2F60A}" srcOrd="0" destOrd="0" presId="urn:microsoft.com/office/officeart/2005/8/layout/radial1"/>
    <dgm:cxn modelId="{EB90639D-3801-4A0A-9EBE-95F133F62610}" type="presParOf" srcId="{CF56E0F2-5CAE-4D94-A0A4-C837201107C6}" destId="{9E6DFB75-F01F-4B26-A6DE-4DC29972294A}" srcOrd="2" destOrd="0" presId="urn:microsoft.com/office/officeart/2005/8/layout/radial1"/>
    <dgm:cxn modelId="{D4431C37-59D7-43CC-AF65-61A80BAD9F56}" type="presParOf" srcId="{CF56E0F2-5CAE-4D94-A0A4-C837201107C6}" destId="{04D602CE-ED04-44D8-A5AA-2162695C57B9}" srcOrd="3" destOrd="0" presId="urn:microsoft.com/office/officeart/2005/8/layout/radial1"/>
    <dgm:cxn modelId="{D88CF66D-7749-4DD8-A1A0-2313920341E6}" type="presParOf" srcId="{04D602CE-ED04-44D8-A5AA-2162695C57B9}" destId="{C6DDB46B-8F54-45DD-B1C4-0EB5984A755E}" srcOrd="0" destOrd="0" presId="urn:microsoft.com/office/officeart/2005/8/layout/radial1"/>
    <dgm:cxn modelId="{6EBE26B4-B055-40E1-971D-C34BA06B7AB8}" type="presParOf" srcId="{CF56E0F2-5CAE-4D94-A0A4-C837201107C6}" destId="{933B9989-4BF5-4C74-BE5D-78094B317D57}" srcOrd="4" destOrd="0" presId="urn:microsoft.com/office/officeart/2005/8/layout/radial1"/>
    <dgm:cxn modelId="{2D74E84A-C83F-44A5-AC7F-C63357EEBB2D}" type="presParOf" srcId="{CF56E0F2-5CAE-4D94-A0A4-C837201107C6}" destId="{02C4B578-497A-44D8-9F15-1FC7872842DA}" srcOrd="5" destOrd="0" presId="urn:microsoft.com/office/officeart/2005/8/layout/radial1"/>
    <dgm:cxn modelId="{3E85565D-9D2F-4FF4-A5FE-334A90ABD9DC}" type="presParOf" srcId="{02C4B578-497A-44D8-9F15-1FC7872842DA}" destId="{62F2A65C-372B-48DC-BACF-DF0E877EBC3B}" srcOrd="0" destOrd="0" presId="urn:microsoft.com/office/officeart/2005/8/layout/radial1"/>
    <dgm:cxn modelId="{82A917B1-4896-4CB6-B3D6-938C44F8452E}" type="presParOf" srcId="{CF56E0F2-5CAE-4D94-A0A4-C837201107C6}" destId="{91E6A95D-DB33-477E-BBE3-FC9CA140CC87}" srcOrd="6" destOrd="0" presId="urn:microsoft.com/office/officeart/2005/8/layout/radial1"/>
    <dgm:cxn modelId="{AF63FB63-BE6A-4395-8D0B-D4F62FAF567E}" type="presParOf" srcId="{CF56E0F2-5CAE-4D94-A0A4-C837201107C6}" destId="{90C229FE-916F-4355-B9E2-0ACF63C86B69}" srcOrd="7" destOrd="0" presId="urn:microsoft.com/office/officeart/2005/8/layout/radial1"/>
    <dgm:cxn modelId="{D20D0C09-D634-46AB-AEDE-DCF4BEDA6320}" type="presParOf" srcId="{90C229FE-916F-4355-B9E2-0ACF63C86B69}" destId="{BE93B69C-142C-44B8-8984-07A2B713879A}" srcOrd="0" destOrd="0" presId="urn:microsoft.com/office/officeart/2005/8/layout/radial1"/>
    <dgm:cxn modelId="{206BD5B5-8493-445C-8935-9860FF938DEF}" type="presParOf" srcId="{CF56E0F2-5CAE-4D94-A0A4-C837201107C6}" destId="{33F19824-8BA8-4D61-95F5-572252B23A49}" srcOrd="8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6EDDB00-1100-462C-82A2-2CDB829A451A}" type="doc">
      <dgm:prSet loTypeId="urn:microsoft.com/office/officeart/2005/8/layout/cycle5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cs-CZ"/>
        </a:p>
      </dgm:t>
    </dgm:pt>
    <dgm:pt modelId="{E83682A0-2DAD-44A9-A945-F7D86C28C228}">
      <dgm:prSet phldrT="[Text]" custT="1"/>
      <dgm:spPr/>
      <dgm:t>
        <a:bodyPr/>
        <a:lstStyle/>
        <a:p>
          <a:r>
            <a:rPr lang="cs-CZ" sz="1800" dirty="0" smtClean="0"/>
            <a:t>IT</a:t>
          </a:r>
          <a:endParaRPr lang="cs-CZ" sz="1800" dirty="0"/>
        </a:p>
      </dgm:t>
    </dgm:pt>
    <dgm:pt modelId="{4DECF62D-B21C-4B38-BB82-6147EF24E0B8}" type="parTrans" cxnId="{E243337B-53B2-490B-834F-B46FE82F9D19}">
      <dgm:prSet/>
      <dgm:spPr/>
      <dgm:t>
        <a:bodyPr/>
        <a:lstStyle/>
        <a:p>
          <a:endParaRPr lang="cs-CZ"/>
        </a:p>
      </dgm:t>
    </dgm:pt>
    <dgm:pt modelId="{F63E8668-A0DC-4A67-AFE1-8D6740DDE194}" type="sibTrans" cxnId="{E243337B-53B2-490B-834F-B46FE82F9D19}">
      <dgm:prSet/>
      <dgm:spPr/>
      <dgm:t>
        <a:bodyPr/>
        <a:lstStyle/>
        <a:p>
          <a:endParaRPr lang="cs-CZ"/>
        </a:p>
      </dgm:t>
    </dgm:pt>
    <dgm:pt modelId="{01D73E57-8C88-4695-B520-70B5939963DB}">
      <dgm:prSet phldrT="[Text]" custT="1"/>
      <dgm:spPr/>
      <dgm:t>
        <a:bodyPr/>
        <a:lstStyle/>
        <a:p>
          <a:r>
            <a:rPr lang="cs-CZ" sz="1800" dirty="0" smtClean="0"/>
            <a:t>Daňové a ekonomické povědomí</a:t>
          </a:r>
          <a:endParaRPr lang="cs-CZ" sz="1800" dirty="0"/>
        </a:p>
      </dgm:t>
    </dgm:pt>
    <dgm:pt modelId="{FDA6C417-25A5-4221-B496-5F251D078531}" type="parTrans" cxnId="{4B3820A0-7266-4FF9-AE7E-2236C7338118}">
      <dgm:prSet/>
      <dgm:spPr/>
      <dgm:t>
        <a:bodyPr/>
        <a:lstStyle/>
        <a:p>
          <a:endParaRPr lang="cs-CZ"/>
        </a:p>
      </dgm:t>
    </dgm:pt>
    <dgm:pt modelId="{C80F6944-C0FE-4AF9-A927-D293CDA801F5}" type="sibTrans" cxnId="{4B3820A0-7266-4FF9-AE7E-2236C7338118}">
      <dgm:prSet/>
      <dgm:spPr/>
      <dgm:t>
        <a:bodyPr/>
        <a:lstStyle/>
        <a:p>
          <a:endParaRPr lang="cs-CZ"/>
        </a:p>
      </dgm:t>
    </dgm:pt>
    <dgm:pt modelId="{68222CF8-5F16-4D35-8928-3662A71A497A}">
      <dgm:prSet phldrT="[Text]" custT="1"/>
      <dgm:spPr/>
      <dgm:t>
        <a:bodyPr/>
        <a:lstStyle/>
        <a:p>
          <a:r>
            <a:rPr lang="cs-CZ" sz="1800" dirty="0" smtClean="0"/>
            <a:t>Právní povědomí</a:t>
          </a:r>
          <a:endParaRPr lang="cs-CZ" sz="1800" dirty="0"/>
        </a:p>
      </dgm:t>
    </dgm:pt>
    <dgm:pt modelId="{6E23359D-82E4-4271-883D-7E7CA4365F7B}" type="parTrans" cxnId="{0D8C02C3-1266-442C-A05C-46BC45EC1A7A}">
      <dgm:prSet/>
      <dgm:spPr/>
      <dgm:t>
        <a:bodyPr/>
        <a:lstStyle/>
        <a:p>
          <a:endParaRPr lang="cs-CZ"/>
        </a:p>
      </dgm:t>
    </dgm:pt>
    <dgm:pt modelId="{4CBD89AF-2B55-45D0-898B-DC5DFBC8099A}" type="sibTrans" cxnId="{0D8C02C3-1266-442C-A05C-46BC45EC1A7A}">
      <dgm:prSet/>
      <dgm:spPr/>
      <dgm:t>
        <a:bodyPr/>
        <a:lstStyle/>
        <a:p>
          <a:endParaRPr lang="cs-CZ"/>
        </a:p>
      </dgm:t>
    </dgm:pt>
    <dgm:pt modelId="{23BCCDEE-932D-4098-97D3-5D9F45CEF02D}">
      <dgm:prSet phldrT="[Text]" custT="1"/>
      <dgm:spPr/>
      <dgm:t>
        <a:bodyPr/>
        <a:lstStyle/>
        <a:p>
          <a:r>
            <a:rPr lang="cs-CZ" sz="1800" dirty="0" smtClean="0"/>
            <a:t>Řidičský průkaz</a:t>
          </a:r>
          <a:endParaRPr lang="cs-CZ" sz="1800" dirty="0"/>
        </a:p>
      </dgm:t>
    </dgm:pt>
    <dgm:pt modelId="{76668CB7-C48D-438A-A2A0-3524A1F86404}" type="parTrans" cxnId="{FDC79A06-E1D6-44FA-AD1C-76BF48467D25}">
      <dgm:prSet/>
      <dgm:spPr/>
      <dgm:t>
        <a:bodyPr/>
        <a:lstStyle/>
        <a:p>
          <a:endParaRPr lang="cs-CZ"/>
        </a:p>
      </dgm:t>
    </dgm:pt>
    <dgm:pt modelId="{5A358AA4-4382-431B-B2E7-D9BBAB524E78}" type="sibTrans" cxnId="{FDC79A06-E1D6-44FA-AD1C-76BF48467D25}">
      <dgm:prSet/>
      <dgm:spPr/>
      <dgm:t>
        <a:bodyPr/>
        <a:lstStyle/>
        <a:p>
          <a:endParaRPr lang="cs-CZ"/>
        </a:p>
      </dgm:t>
    </dgm:pt>
    <dgm:pt modelId="{861A0771-C088-4190-AA4D-1AA10E21A346}">
      <dgm:prSet phldrT="[Text]" custT="1"/>
      <dgm:spPr/>
      <dgm:t>
        <a:bodyPr/>
        <a:lstStyle/>
        <a:p>
          <a:r>
            <a:rPr lang="cs-CZ" sz="1800" dirty="0" smtClean="0"/>
            <a:t>Psychologie</a:t>
          </a:r>
        </a:p>
        <a:p>
          <a:r>
            <a:rPr lang="cs-CZ" sz="1800" dirty="0" smtClean="0"/>
            <a:t>(odolnost vůči únavě a stresu</a:t>
          </a:r>
          <a:r>
            <a:rPr lang="cs-CZ" sz="1400" dirty="0" smtClean="0"/>
            <a:t>)</a:t>
          </a:r>
          <a:endParaRPr lang="cs-CZ" sz="1400" dirty="0"/>
        </a:p>
      </dgm:t>
    </dgm:pt>
    <dgm:pt modelId="{49500C81-E8FE-4389-AEF9-BC9B475B9826}" type="parTrans" cxnId="{D42FB0C3-0E01-4ABC-BD8E-319175A26260}">
      <dgm:prSet/>
      <dgm:spPr/>
      <dgm:t>
        <a:bodyPr/>
        <a:lstStyle/>
        <a:p>
          <a:endParaRPr lang="cs-CZ"/>
        </a:p>
      </dgm:t>
    </dgm:pt>
    <dgm:pt modelId="{A0F70A4F-1E79-4C87-9EE9-4A6A6861557F}" type="sibTrans" cxnId="{D42FB0C3-0E01-4ABC-BD8E-319175A26260}">
      <dgm:prSet/>
      <dgm:spPr/>
      <dgm:t>
        <a:bodyPr/>
        <a:lstStyle/>
        <a:p>
          <a:endParaRPr lang="cs-CZ"/>
        </a:p>
      </dgm:t>
    </dgm:pt>
    <dgm:pt modelId="{C362626B-692A-44E4-8CFA-ACCE0158666B}" type="pres">
      <dgm:prSet presAssocID="{16EDDB00-1100-462C-82A2-2CDB829A451A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cs-CZ"/>
        </a:p>
      </dgm:t>
    </dgm:pt>
    <dgm:pt modelId="{CF39EB98-BF08-43BC-9065-3CBA7B91A12C}" type="pres">
      <dgm:prSet presAssocID="{E83682A0-2DAD-44A9-A945-F7D86C28C228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64351A70-C4E7-4507-99F1-2577517CCBAE}" type="pres">
      <dgm:prSet presAssocID="{E83682A0-2DAD-44A9-A945-F7D86C28C228}" presName="spNode" presStyleCnt="0"/>
      <dgm:spPr/>
    </dgm:pt>
    <dgm:pt modelId="{2CBF3472-3A22-4480-93D4-91A7B9E46E96}" type="pres">
      <dgm:prSet presAssocID="{F63E8668-A0DC-4A67-AFE1-8D6740DDE194}" presName="sibTrans" presStyleLbl="sibTrans1D1" presStyleIdx="0" presStyleCnt="5"/>
      <dgm:spPr/>
      <dgm:t>
        <a:bodyPr/>
        <a:lstStyle/>
        <a:p>
          <a:endParaRPr lang="cs-CZ"/>
        </a:p>
      </dgm:t>
    </dgm:pt>
    <dgm:pt modelId="{0FA97D08-3BF8-4266-9C40-0EE7F330F36A}" type="pres">
      <dgm:prSet presAssocID="{01D73E57-8C88-4695-B520-70B5939963DB}" presName="node" presStyleLbl="node1" presStyleIdx="1" presStyleCnt="5" custScaleY="160723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0FCA8E89-5018-4025-AB0C-45511E49E981}" type="pres">
      <dgm:prSet presAssocID="{01D73E57-8C88-4695-B520-70B5939963DB}" presName="spNode" presStyleCnt="0"/>
      <dgm:spPr/>
    </dgm:pt>
    <dgm:pt modelId="{F2345287-A344-4CE4-9F7A-811343F03DE1}" type="pres">
      <dgm:prSet presAssocID="{C80F6944-C0FE-4AF9-A927-D293CDA801F5}" presName="sibTrans" presStyleLbl="sibTrans1D1" presStyleIdx="1" presStyleCnt="5"/>
      <dgm:spPr/>
      <dgm:t>
        <a:bodyPr/>
        <a:lstStyle/>
        <a:p>
          <a:endParaRPr lang="cs-CZ"/>
        </a:p>
      </dgm:t>
    </dgm:pt>
    <dgm:pt modelId="{62187A3B-73C9-418F-B89F-7287CEC5D16A}" type="pres">
      <dgm:prSet presAssocID="{68222CF8-5F16-4D35-8928-3662A71A497A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6F1FB62A-AC7F-4930-B667-091F8087D025}" type="pres">
      <dgm:prSet presAssocID="{68222CF8-5F16-4D35-8928-3662A71A497A}" presName="spNode" presStyleCnt="0"/>
      <dgm:spPr/>
    </dgm:pt>
    <dgm:pt modelId="{75258AAD-9ADB-4EE7-ADC0-EF350088116D}" type="pres">
      <dgm:prSet presAssocID="{4CBD89AF-2B55-45D0-898B-DC5DFBC8099A}" presName="sibTrans" presStyleLbl="sibTrans1D1" presStyleIdx="2" presStyleCnt="5"/>
      <dgm:spPr/>
      <dgm:t>
        <a:bodyPr/>
        <a:lstStyle/>
        <a:p>
          <a:endParaRPr lang="cs-CZ"/>
        </a:p>
      </dgm:t>
    </dgm:pt>
    <dgm:pt modelId="{972D28EB-1C9F-425F-BC5E-30580BC8EA57}" type="pres">
      <dgm:prSet presAssocID="{23BCCDEE-932D-4098-97D3-5D9F45CEF02D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F3B8A2DA-0E08-4BFD-8EF7-F86D4242B4A0}" type="pres">
      <dgm:prSet presAssocID="{23BCCDEE-932D-4098-97D3-5D9F45CEF02D}" presName="spNode" presStyleCnt="0"/>
      <dgm:spPr/>
    </dgm:pt>
    <dgm:pt modelId="{0EABDDFE-7973-4EAC-A0BF-8FE6A8BF88E5}" type="pres">
      <dgm:prSet presAssocID="{5A358AA4-4382-431B-B2E7-D9BBAB524E78}" presName="sibTrans" presStyleLbl="sibTrans1D1" presStyleIdx="3" presStyleCnt="5"/>
      <dgm:spPr/>
      <dgm:t>
        <a:bodyPr/>
        <a:lstStyle/>
        <a:p>
          <a:endParaRPr lang="cs-CZ"/>
        </a:p>
      </dgm:t>
    </dgm:pt>
    <dgm:pt modelId="{6EE946C4-AAAE-4696-890C-60E53E674990}" type="pres">
      <dgm:prSet presAssocID="{861A0771-C088-4190-AA4D-1AA10E21A346}" presName="node" presStyleLbl="node1" presStyleIdx="4" presStyleCnt="5" custScaleX="123356" custScaleY="154613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EB4956CF-11F6-49AF-B590-D52C65CD8DB2}" type="pres">
      <dgm:prSet presAssocID="{861A0771-C088-4190-AA4D-1AA10E21A346}" presName="spNode" presStyleCnt="0"/>
      <dgm:spPr/>
    </dgm:pt>
    <dgm:pt modelId="{5FF7B9B4-F034-48E7-ADD2-ADB10B738115}" type="pres">
      <dgm:prSet presAssocID="{A0F70A4F-1E79-4C87-9EE9-4A6A6861557F}" presName="sibTrans" presStyleLbl="sibTrans1D1" presStyleIdx="4" presStyleCnt="5"/>
      <dgm:spPr/>
      <dgm:t>
        <a:bodyPr/>
        <a:lstStyle/>
        <a:p>
          <a:endParaRPr lang="cs-CZ"/>
        </a:p>
      </dgm:t>
    </dgm:pt>
  </dgm:ptLst>
  <dgm:cxnLst>
    <dgm:cxn modelId="{0D8C02C3-1266-442C-A05C-46BC45EC1A7A}" srcId="{16EDDB00-1100-462C-82A2-2CDB829A451A}" destId="{68222CF8-5F16-4D35-8928-3662A71A497A}" srcOrd="2" destOrd="0" parTransId="{6E23359D-82E4-4271-883D-7E7CA4365F7B}" sibTransId="{4CBD89AF-2B55-45D0-898B-DC5DFBC8099A}"/>
    <dgm:cxn modelId="{E5DA17ED-8321-44AA-9F2A-B5F89ED9F5FD}" type="presOf" srcId="{23BCCDEE-932D-4098-97D3-5D9F45CEF02D}" destId="{972D28EB-1C9F-425F-BC5E-30580BC8EA57}" srcOrd="0" destOrd="0" presId="urn:microsoft.com/office/officeart/2005/8/layout/cycle5"/>
    <dgm:cxn modelId="{2612D311-8023-424C-A0EF-E6B7E419462D}" type="presOf" srcId="{C80F6944-C0FE-4AF9-A927-D293CDA801F5}" destId="{F2345287-A344-4CE4-9F7A-811343F03DE1}" srcOrd="0" destOrd="0" presId="urn:microsoft.com/office/officeart/2005/8/layout/cycle5"/>
    <dgm:cxn modelId="{79EE3457-3B5F-44C3-B496-FBA1B1302E94}" type="presOf" srcId="{01D73E57-8C88-4695-B520-70B5939963DB}" destId="{0FA97D08-3BF8-4266-9C40-0EE7F330F36A}" srcOrd="0" destOrd="0" presId="urn:microsoft.com/office/officeart/2005/8/layout/cycle5"/>
    <dgm:cxn modelId="{D42FB0C3-0E01-4ABC-BD8E-319175A26260}" srcId="{16EDDB00-1100-462C-82A2-2CDB829A451A}" destId="{861A0771-C088-4190-AA4D-1AA10E21A346}" srcOrd="4" destOrd="0" parTransId="{49500C81-E8FE-4389-AEF9-BC9B475B9826}" sibTransId="{A0F70A4F-1E79-4C87-9EE9-4A6A6861557F}"/>
    <dgm:cxn modelId="{9BA3C285-D59A-4159-88E8-946D9EE8E277}" type="presOf" srcId="{5A358AA4-4382-431B-B2E7-D9BBAB524E78}" destId="{0EABDDFE-7973-4EAC-A0BF-8FE6A8BF88E5}" srcOrd="0" destOrd="0" presId="urn:microsoft.com/office/officeart/2005/8/layout/cycle5"/>
    <dgm:cxn modelId="{FDC79A06-E1D6-44FA-AD1C-76BF48467D25}" srcId="{16EDDB00-1100-462C-82A2-2CDB829A451A}" destId="{23BCCDEE-932D-4098-97D3-5D9F45CEF02D}" srcOrd="3" destOrd="0" parTransId="{76668CB7-C48D-438A-A2A0-3524A1F86404}" sibTransId="{5A358AA4-4382-431B-B2E7-D9BBAB524E78}"/>
    <dgm:cxn modelId="{4B3820A0-7266-4FF9-AE7E-2236C7338118}" srcId="{16EDDB00-1100-462C-82A2-2CDB829A451A}" destId="{01D73E57-8C88-4695-B520-70B5939963DB}" srcOrd="1" destOrd="0" parTransId="{FDA6C417-25A5-4221-B496-5F251D078531}" sibTransId="{C80F6944-C0FE-4AF9-A927-D293CDA801F5}"/>
    <dgm:cxn modelId="{C03D798A-4883-4C5E-A264-CFFAAEBC8F69}" type="presOf" srcId="{E83682A0-2DAD-44A9-A945-F7D86C28C228}" destId="{CF39EB98-BF08-43BC-9065-3CBA7B91A12C}" srcOrd="0" destOrd="0" presId="urn:microsoft.com/office/officeart/2005/8/layout/cycle5"/>
    <dgm:cxn modelId="{CA5DEBE8-4A68-41F1-864C-C3127B30AFCD}" type="presOf" srcId="{4CBD89AF-2B55-45D0-898B-DC5DFBC8099A}" destId="{75258AAD-9ADB-4EE7-ADC0-EF350088116D}" srcOrd="0" destOrd="0" presId="urn:microsoft.com/office/officeart/2005/8/layout/cycle5"/>
    <dgm:cxn modelId="{E243337B-53B2-490B-834F-B46FE82F9D19}" srcId="{16EDDB00-1100-462C-82A2-2CDB829A451A}" destId="{E83682A0-2DAD-44A9-A945-F7D86C28C228}" srcOrd="0" destOrd="0" parTransId="{4DECF62D-B21C-4B38-BB82-6147EF24E0B8}" sibTransId="{F63E8668-A0DC-4A67-AFE1-8D6740DDE194}"/>
    <dgm:cxn modelId="{920A763E-9AD5-4CAD-8851-7D5F09CFF959}" type="presOf" srcId="{16EDDB00-1100-462C-82A2-2CDB829A451A}" destId="{C362626B-692A-44E4-8CFA-ACCE0158666B}" srcOrd="0" destOrd="0" presId="urn:microsoft.com/office/officeart/2005/8/layout/cycle5"/>
    <dgm:cxn modelId="{4933F04C-9010-48F4-B1CA-D2163FB9E569}" type="presOf" srcId="{F63E8668-A0DC-4A67-AFE1-8D6740DDE194}" destId="{2CBF3472-3A22-4480-93D4-91A7B9E46E96}" srcOrd="0" destOrd="0" presId="urn:microsoft.com/office/officeart/2005/8/layout/cycle5"/>
    <dgm:cxn modelId="{11F1D6F0-322D-4C28-AF3C-464A275BFC78}" type="presOf" srcId="{A0F70A4F-1E79-4C87-9EE9-4A6A6861557F}" destId="{5FF7B9B4-F034-48E7-ADD2-ADB10B738115}" srcOrd="0" destOrd="0" presId="urn:microsoft.com/office/officeart/2005/8/layout/cycle5"/>
    <dgm:cxn modelId="{8C4AB5ED-25BB-4454-AE51-35E2390F5F94}" type="presOf" srcId="{861A0771-C088-4190-AA4D-1AA10E21A346}" destId="{6EE946C4-AAAE-4696-890C-60E53E674990}" srcOrd="0" destOrd="0" presId="urn:microsoft.com/office/officeart/2005/8/layout/cycle5"/>
    <dgm:cxn modelId="{95D6CEE7-7D76-4CA0-9B07-1D9F1F16D4D0}" type="presOf" srcId="{68222CF8-5F16-4D35-8928-3662A71A497A}" destId="{62187A3B-73C9-418F-B89F-7287CEC5D16A}" srcOrd="0" destOrd="0" presId="urn:microsoft.com/office/officeart/2005/8/layout/cycle5"/>
    <dgm:cxn modelId="{A0C02CA0-3E05-41FA-8E1D-2DE7EB7084AD}" type="presParOf" srcId="{C362626B-692A-44E4-8CFA-ACCE0158666B}" destId="{CF39EB98-BF08-43BC-9065-3CBA7B91A12C}" srcOrd="0" destOrd="0" presId="urn:microsoft.com/office/officeart/2005/8/layout/cycle5"/>
    <dgm:cxn modelId="{AB3DA63F-4D6F-4487-8D71-81851E41A10A}" type="presParOf" srcId="{C362626B-692A-44E4-8CFA-ACCE0158666B}" destId="{64351A70-C4E7-4507-99F1-2577517CCBAE}" srcOrd="1" destOrd="0" presId="urn:microsoft.com/office/officeart/2005/8/layout/cycle5"/>
    <dgm:cxn modelId="{17D45664-D488-4E1B-B95F-81BD57FC6B53}" type="presParOf" srcId="{C362626B-692A-44E4-8CFA-ACCE0158666B}" destId="{2CBF3472-3A22-4480-93D4-91A7B9E46E96}" srcOrd="2" destOrd="0" presId="urn:microsoft.com/office/officeart/2005/8/layout/cycle5"/>
    <dgm:cxn modelId="{9E9AE07B-5DCE-46D7-9A05-53E0E3B012EF}" type="presParOf" srcId="{C362626B-692A-44E4-8CFA-ACCE0158666B}" destId="{0FA97D08-3BF8-4266-9C40-0EE7F330F36A}" srcOrd="3" destOrd="0" presId="urn:microsoft.com/office/officeart/2005/8/layout/cycle5"/>
    <dgm:cxn modelId="{2A8B92AD-E4F0-4789-9205-9F8530DA32FF}" type="presParOf" srcId="{C362626B-692A-44E4-8CFA-ACCE0158666B}" destId="{0FCA8E89-5018-4025-AB0C-45511E49E981}" srcOrd="4" destOrd="0" presId="urn:microsoft.com/office/officeart/2005/8/layout/cycle5"/>
    <dgm:cxn modelId="{3B0BAB3C-A892-4325-8D58-8A60A8BBFFE1}" type="presParOf" srcId="{C362626B-692A-44E4-8CFA-ACCE0158666B}" destId="{F2345287-A344-4CE4-9F7A-811343F03DE1}" srcOrd="5" destOrd="0" presId="urn:microsoft.com/office/officeart/2005/8/layout/cycle5"/>
    <dgm:cxn modelId="{45F98DE8-8D62-4487-88D2-A88062B330F8}" type="presParOf" srcId="{C362626B-692A-44E4-8CFA-ACCE0158666B}" destId="{62187A3B-73C9-418F-B89F-7287CEC5D16A}" srcOrd="6" destOrd="0" presId="urn:microsoft.com/office/officeart/2005/8/layout/cycle5"/>
    <dgm:cxn modelId="{64A8FE03-A549-4E30-BE1D-7E5BF974D7A1}" type="presParOf" srcId="{C362626B-692A-44E4-8CFA-ACCE0158666B}" destId="{6F1FB62A-AC7F-4930-B667-091F8087D025}" srcOrd="7" destOrd="0" presId="urn:microsoft.com/office/officeart/2005/8/layout/cycle5"/>
    <dgm:cxn modelId="{11B931B7-2193-4DEC-B3E0-4A8B6BD4ACF5}" type="presParOf" srcId="{C362626B-692A-44E4-8CFA-ACCE0158666B}" destId="{75258AAD-9ADB-4EE7-ADC0-EF350088116D}" srcOrd="8" destOrd="0" presId="urn:microsoft.com/office/officeart/2005/8/layout/cycle5"/>
    <dgm:cxn modelId="{5C07A0A2-3C7E-414F-9FA9-F65F18D44916}" type="presParOf" srcId="{C362626B-692A-44E4-8CFA-ACCE0158666B}" destId="{972D28EB-1C9F-425F-BC5E-30580BC8EA57}" srcOrd="9" destOrd="0" presId="urn:microsoft.com/office/officeart/2005/8/layout/cycle5"/>
    <dgm:cxn modelId="{4FE13ABD-9736-4D7A-A59F-6EF91A161652}" type="presParOf" srcId="{C362626B-692A-44E4-8CFA-ACCE0158666B}" destId="{F3B8A2DA-0E08-4BFD-8EF7-F86D4242B4A0}" srcOrd="10" destOrd="0" presId="urn:microsoft.com/office/officeart/2005/8/layout/cycle5"/>
    <dgm:cxn modelId="{2F14C3D2-2824-45DF-B4FD-921A8D6EE8B1}" type="presParOf" srcId="{C362626B-692A-44E4-8CFA-ACCE0158666B}" destId="{0EABDDFE-7973-4EAC-A0BF-8FE6A8BF88E5}" srcOrd="11" destOrd="0" presId="urn:microsoft.com/office/officeart/2005/8/layout/cycle5"/>
    <dgm:cxn modelId="{6C4A008B-A255-44F1-BDA2-99E0E155C746}" type="presParOf" srcId="{C362626B-692A-44E4-8CFA-ACCE0158666B}" destId="{6EE946C4-AAAE-4696-890C-60E53E674990}" srcOrd="12" destOrd="0" presId="urn:microsoft.com/office/officeart/2005/8/layout/cycle5"/>
    <dgm:cxn modelId="{82DCDACE-2578-40D2-9FB8-CBC04DB5969C}" type="presParOf" srcId="{C362626B-692A-44E4-8CFA-ACCE0158666B}" destId="{EB4956CF-11F6-49AF-B590-D52C65CD8DB2}" srcOrd="13" destOrd="0" presId="urn:microsoft.com/office/officeart/2005/8/layout/cycle5"/>
    <dgm:cxn modelId="{783D7DC2-4A82-4B4A-ACE9-1A1A671BF73D}" type="presParOf" srcId="{C362626B-692A-44E4-8CFA-ACCE0158666B}" destId="{5FF7B9B4-F034-48E7-ADD2-ADB10B738115}" srcOrd="14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1AE8C68-8566-477E-AB22-CB944EAAB224}" type="doc">
      <dgm:prSet loTypeId="urn:microsoft.com/office/officeart/2005/8/layout/lProcess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cs-CZ"/>
        </a:p>
      </dgm:t>
    </dgm:pt>
    <dgm:pt modelId="{24A18447-D245-45C7-BF20-D13AC88BF6AA}">
      <dgm:prSet phldrT="[Text]"/>
      <dgm:spPr/>
      <dgm:t>
        <a:bodyPr/>
        <a:lstStyle/>
        <a:p>
          <a:r>
            <a:rPr lang="cs-CZ" dirty="0" smtClean="0"/>
            <a:t>MNOHOOBOROVOST   A VÝVOJ POJMŮ</a:t>
          </a:r>
          <a:endParaRPr lang="cs-CZ" dirty="0"/>
        </a:p>
      </dgm:t>
    </dgm:pt>
    <dgm:pt modelId="{E5E51732-20B2-45FD-AB7B-4DDA50C5AB60}" type="parTrans" cxnId="{816BE7E0-AA89-4C2C-8761-779D28A65DAD}">
      <dgm:prSet/>
      <dgm:spPr/>
      <dgm:t>
        <a:bodyPr/>
        <a:lstStyle/>
        <a:p>
          <a:endParaRPr lang="cs-CZ"/>
        </a:p>
      </dgm:t>
    </dgm:pt>
    <dgm:pt modelId="{3C9ED37E-483C-4189-B35B-2B954B3CFB7F}" type="sibTrans" cxnId="{816BE7E0-AA89-4C2C-8761-779D28A65DAD}">
      <dgm:prSet/>
      <dgm:spPr/>
      <dgm:t>
        <a:bodyPr/>
        <a:lstStyle/>
        <a:p>
          <a:endParaRPr lang="cs-CZ"/>
        </a:p>
      </dgm:t>
    </dgm:pt>
    <dgm:pt modelId="{25217471-359C-4990-A124-7FCB385BB479}">
      <dgm:prSet phldrT="[Text]"/>
      <dgm:spPr/>
      <dgm:t>
        <a:bodyPr/>
        <a:lstStyle/>
        <a:p>
          <a:r>
            <a:rPr lang="cs-CZ" dirty="0" smtClean="0"/>
            <a:t>Různorodost terminologie</a:t>
          </a:r>
          <a:endParaRPr lang="cs-CZ" dirty="0"/>
        </a:p>
      </dgm:t>
    </dgm:pt>
    <dgm:pt modelId="{89A315C8-B3E2-4C38-B0E6-A1C25ADF25D7}" type="parTrans" cxnId="{D6089FBF-201B-4F08-BBAA-72F202F468F9}">
      <dgm:prSet/>
      <dgm:spPr/>
      <dgm:t>
        <a:bodyPr/>
        <a:lstStyle/>
        <a:p>
          <a:endParaRPr lang="cs-CZ"/>
        </a:p>
      </dgm:t>
    </dgm:pt>
    <dgm:pt modelId="{5428D1BA-36D5-48ED-B0A1-E8874AF16CEE}" type="sibTrans" cxnId="{D6089FBF-201B-4F08-BBAA-72F202F468F9}">
      <dgm:prSet/>
      <dgm:spPr/>
      <dgm:t>
        <a:bodyPr/>
        <a:lstStyle/>
        <a:p>
          <a:endParaRPr lang="cs-CZ"/>
        </a:p>
      </dgm:t>
    </dgm:pt>
    <dgm:pt modelId="{B271A1D1-6038-4909-A389-F075E0C8C303}">
      <dgm:prSet phldrT="[Text]"/>
      <dgm:spPr/>
      <dgm:t>
        <a:bodyPr/>
        <a:lstStyle/>
        <a:p>
          <a:r>
            <a:rPr lang="cs-CZ" dirty="0" smtClean="0"/>
            <a:t>Oficiální jazyky Španělska </a:t>
          </a:r>
          <a:endParaRPr lang="cs-CZ" dirty="0"/>
        </a:p>
      </dgm:t>
    </dgm:pt>
    <dgm:pt modelId="{8FD3FC81-10DC-4C92-85D0-E1B2E2FDFBE2}" type="parTrans" cxnId="{B95D0B55-9489-40F2-8B58-39F489090FCB}">
      <dgm:prSet/>
      <dgm:spPr/>
      <dgm:t>
        <a:bodyPr/>
        <a:lstStyle/>
        <a:p>
          <a:endParaRPr lang="cs-CZ"/>
        </a:p>
      </dgm:t>
    </dgm:pt>
    <dgm:pt modelId="{8DF92FBF-DF3E-42F2-8E99-1F0AB26BC5FD}" type="sibTrans" cxnId="{B95D0B55-9489-40F2-8B58-39F489090FCB}">
      <dgm:prSet/>
      <dgm:spPr/>
      <dgm:t>
        <a:bodyPr/>
        <a:lstStyle/>
        <a:p>
          <a:endParaRPr lang="cs-CZ"/>
        </a:p>
      </dgm:t>
    </dgm:pt>
    <dgm:pt modelId="{97829D8A-C50F-4FAA-AFA4-D5A8B98F680D}">
      <dgm:prSet phldrT="[Text]"/>
      <dgm:spPr/>
      <dgm:t>
        <a:bodyPr/>
        <a:lstStyle/>
        <a:p>
          <a:r>
            <a:rPr lang="cs-CZ" dirty="0" smtClean="0"/>
            <a:t>OSOBNOST ZADAVATELE</a:t>
          </a:r>
          <a:endParaRPr lang="cs-CZ" dirty="0"/>
        </a:p>
      </dgm:t>
    </dgm:pt>
    <dgm:pt modelId="{72E4BE65-DCEC-40A6-B364-120247FFC2F7}" type="parTrans" cxnId="{76FB8156-E3C2-444E-925D-81264BAFED94}">
      <dgm:prSet/>
      <dgm:spPr/>
      <dgm:t>
        <a:bodyPr/>
        <a:lstStyle/>
        <a:p>
          <a:endParaRPr lang="cs-CZ"/>
        </a:p>
      </dgm:t>
    </dgm:pt>
    <dgm:pt modelId="{CBB6C752-9702-4B42-8430-B0024A916AAA}" type="sibTrans" cxnId="{76FB8156-E3C2-444E-925D-81264BAFED94}">
      <dgm:prSet/>
      <dgm:spPr/>
      <dgm:t>
        <a:bodyPr/>
        <a:lstStyle/>
        <a:p>
          <a:endParaRPr lang="cs-CZ"/>
        </a:p>
      </dgm:t>
    </dgm:pt>
    <dgm:pt modelId="{5A1AA97C-9655-470B-8936-D8C950D97F14}">
      <dgm:prSet phldrT="[Text]"/>
      <dgm:spPr/>
      <dgm:t>
        <a:bodyPr/>
        <a:lstStyle/>
        <a:p>
          <a:r>
            <a:rPr lang="cs-CZ" dirty="0" smtClean="0"/>
            <a:t>Míra zkušenosti</a:t>
          </a:r>
          <a:endParaRPr lang="cs-CZ" dirty="0"/>
        </a:p>
      </dgm:t>
    </dgm:pt>
    <dgm:pt modelId="{7A10B4E9-E2BA-4B81-834C-97BA23B19CF7}" type="parTrans" cxnId="{602D550E-F296-4AD4-943B-454176BEF1A2}">
      <dgm:prSet/>
      <dgm:spPr/>
      <dgm:t>
        <a:bodyPr/>
        <a:lstStyle/>
        <a:p>
          <a:endParaRPr lang="cs-CZ"/>
        </a:p>
      </dgm:t>
    </dgm:pt>
    <dgm:pt modelId="{0ACBFDD0-2A68-4DCA-8B7A-2D9B520D9FB5}" type="sibTrans" cxnId="{602D550E-F296-4AD4-943B-454176BEF1A2}">
      <dgm:prSet/>
      <dgm:spPr/>
      <dgm:t>
        <a:bodyPr/>
        <a:lstStyle/>
        <a:p>
          <a:endParaRPr lang="cs-CZ"/>
        </a:p>
      </dgm:t>
    </dgm:pt>
    <dgm:pt modelId="{FA430C35-4BFB-4F51-BFEE-F4EF02FF31CA}">
      <dgm:prSet phldrT="[Text]"/>
      <dgm:spPr/>
      <dgm:t>
        <a:bodyPr/>
        <a:lstStyle/>
        <a:p>
          <a:r>
            <a:rPr lang="cs-CZ" dirty="0" smtClean="0"/>
            <a:t>Osobnost</a:t>
          </a:r>
          <a:endParaRPr lang="cs-CZ" dirty="0"/>
        </a:p>
      </dgm:t>
    </dgm:pt>
    <dgm:pt modelId="{595705D0-A425-4C12-9CCA-30A74B48CE1D}" type="parTrans" cxnId="{6AE404D8-1455-4FEB-95C5-02249A596A74}">
      <dgm:prSet/>
      <dgm:spPr/>
      <dgm:t>
        <a:bodyPr/>
        <a:lstStyle/>
        <a:p>
          <a:endParaRPr lang="cs-CZ"/>
        </a:p>
      </dgm:t>
    </dgm:pt>
    <dgm:pt modelId="{0D8DE763-06AA-461F-A6DA-22FEAFA08657}" type="sibTrans" cxnId="{6AE404D8-1455-4FEB-95C5-02249A596A74}">
      <dgm:prSet/>
      <dgm:spPr/>
      <dgm:t>
        <a:bodyPr/>
        <a:lstStyle/>
        <a:p>
          <a:endParaRPr lang="cs-CZ"/>
        </a:p>
      </dgm:t>
    </dgm:pt>
    <dgm:pt modelId="{B10EC82C-C26B-462F-8FF3-A17E9351A5BD}">
      <dgm:prSet phldrT="[Text]"/>
      <dgm:spPr/>
      <dgm:t>
        <a:bodyPr/>
        <a:lstStyle/>
        <a:p>
          <a:r>
            <a:rPr lang="cs-CZ" dirty="0" smtClean="0"/>
            <a:t>NEZNALOST ZÁKONA NEOMLOUVÁ</a:t>
          </a:r>
          <a:endParaRPr lang="cs-CZ" dirty="0"/>
        </a:p>
      </dgm:t>
    </dgm:pt>
    <dgm:pt modelId="{603C9901-375C-4195-ADA4-FBACD4BAA5E6}" type="parTrans" cxnId="{918A5D18-C33B-487A-A897-72438D125E78}">
      <dgm:prSet/>
      <dgm:spPr/>
      <dgm:t>
        <a:bodyPr/>
        <a:lstStyle/>
        <a:p>
          <a:endParaRPr lang="cs-CZ"/>
        </a:p>
      </dgm:t>
    </dgm:pt>
    <dgm:pt modelId="{155D8942-F95B-49C1-8D5E-890A21184C3E}" type="sibTrans" cxnId="{918A5D18-C33B-487A-A897-72438D125E78}">
      <dgm:prSet/>
      <dgm:spPr/>
      <dgm:t>
        <a:bodyPr/>
        <a:lstStyle/>
        <a:p>
          <a:endParaRPr lang="cs-CZ"/>
        </a:p>
      </dgm:t>
    </dgm:pt>
    <dgm:pt modelId="{D053895B-CFC2-4E8B-A5D8-555023C86106}">
      <dgm:prSet phldrT="[Text]"/>
      <dgm:spPr/>
      <dgm:t>
        <a:bodyPr/>
        <a:lstStyle/>
        <a:p>
          <a:r>
            <a:rPr lang="cs-CZ" dirty="0" smtClean="0"/>
            <a:t>Sankce</a:t>
          </a:r>
          <a:endParaRPr lang="cs-CZ" dirty="0"/>
        </a:p>
      </dgm:t>
    </dgm:pt>
    <dgm:pt modelId="{751357C7-4C56-49FC-9395-B29A732D9D67}" type="parTrans" cxnId="{90821C05-5E44-404F-AA46-8C43D7B9D513}">
      <dgm:prSet/>
      <dgm:spPr/>
      <dgm:t>
        <a:bodyPr/>
        <a:lstStyle/>
        <a:p>
          <a:endParaRPr lang="cs-CZ"/>
        </a:p>
      </dgm:t>
    </dgm:pt>
    <dgm:pt modelId="{D51FCD15-81D9-4533-9955-58B1C86371B3}" type="sibTrans" cxnId="{90821C05-5E44-404F-AA46-8C43D7B9D513}">
      <dgm:prSet/>
      <dgm:spPr/>
      <dgm:t>
        <a:bodyPr/>
        <a:lstStyle/>
        <a:p>
          <a:endParaRPr lang="cs-CZ"/>
        </a:p>
      </dgm:t>
    </dgm:pt>
    <dgm:pt modelId="{B3B37DD8-6F21-40D5-B68C-99904B887B6F}">
      <dgm:prSet phldrT="[Text]"/>
      <dgm:spPr/>
      <dgm:t>
        <a:bodyPr/>
        <a:lstStyle/>
        <a:p>
          <a:r>
            <a:rPr lang="cs-CZ" dirty="0" smtClean="0"/>
            <a:t>Přezkoumání překladu</a:t>
          </a:r>
          <a:endParaRPr lang="cs-CZ" dirty="0"/>
        </a:p>
      </dgm:t>
    </dgm:pt>
    <dgm:pt modelId="{DB15025F-3AEB-4276-81E5-5BDDB2C78B33}" type="parTrans" cxnId="{AFA47F7D-AA2C-4FF1-B975-422A5C1AE75B}">
      <dgm:prSet/>
      <dgm:spPr/>
      <dgm:t>
        <a:bodyPr/>
        <a:lstStyle/>
        <a:p>
          <a:endParaRPr lang="cs-CZ"/>
        </a:p>
      </dgm:t>
    </dgm:pt>
    <dgm:pt modelId="{2FEB9633-69FC-4EE1-AF2F-55FC62EB7A00}" type="sibTrans" cxnId="{AFA47F7D-AA2C-4FF1-B975-422A5C1AE75B}">
      <dgm:prSet/>
      <dgm:spPr/>
      <dgm:t>
        <a:bodyPr/>
        <a:lstStyle/>
        <a:p>
          <a:endParaRPr lang="cs-CZ"/>
        </a:p>
      </dgm:t>
    </dgm:pt>
    <dgm:pt modelId="{9DC39A63-8328-4B5B-9DF5-5501FF7D7773}">
      <dgm:prSet/>
      <dgm:spPr/>
      <dgm:t>
        <a:bodyPr/>
        <a:lstStyle/>
        <a:p>
          <a:r>
            <a:rPr lang="cs-CZ" dirty="0" smtClean="0"/>
            <a:t>Geografická různorodost</a:t>
          </a:r>
        </a:p>
        <a:p>
          <a:r>
            <a:rPr lang="cs-CZ" dirty="0" smtClean="0"/>
            <a:t> (LA x ES)</a:t>
          </a:r>
          <a:endParaRPr lang="cs-CZ" dirty="0"/>
        </a:p>
      </dgm:t>
    </dgm:pt>
    <dgm:pt modelId="{69D16CC7-9F11-4F6F-892A-8E4D4E165446}" type="parTrans" cxnId="{13A25E49-8EB6-4340-B0DE-281D1CEFA4D6}">
      <dgm:prSet/>
      <dgm:spPr/>
      <dgm:t>
        <a:bodyPr/>
        <a:lstStyle/>
        <a:p>
          <a:endParaRPr lang="cs-CZ"/>
        </a:p>
      </dgm:t>
    </dgm:pt>
    <dgm:pt modelId="{2FD7E981-353D-42D1-A6F1-E0A0EEB508C8}" type="sibTrans" cxnId="{13A25E49-8EB6-4340-B0DE-281D1CEFA4D6}">
      <dgm:prSet/>
      <dgm:spPr/>
      <dgm:t>
        <a:bodyPr/>
        <a:lstStyle/>
        <a:p>
          <a:endParaRPr lang="cs-CZ"/>
        </a:p>
      </dgm:t>
    </dgm:pt>
    <dgm:pt modelId="{25C262C0-C40E-4BE0-90B3-C3E90E883329}" type="pres">
      <dgm:prSet presAssocID="{C1AE8C68-8566-477E-AB22-CB944EAAB224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cs-CZ"/>
        </a:p>
      </dgm:t>
    </dgm:pt>
    <dgm:pt modelId="{D37C712C-7B25-4B20-AFC8-417054A332D5}" type="pres">
      <dgm:prSet presAssocID="{24A18447-D245-45C7-BF20-D13AC88BF6AA}" presName="compNode" presStyleCnt="0"/>
      <dgm:spPr/>
    </dgm:pt>
    <dgm:pt modelId="{53E39804-A1AF-4E85-8049-907197CF558A}" type="pres">
      <dgm:prSet presAssocID="{24A18447-D245-45C7-BF20-D13AC88BF6AA}" presName="aNode" presStyleLbl="bgShp" presStyleIdx="0" presStyleCnt="3" custLinFactNeighborX="-34700" custLinFactNeighborY="-2730"/>
      <dgm:spPr/>
      <dgm:t>
        <a:bodyPr/>
        <a:lstStyle/>
        <a:p>
          <a:endParaRPr lang="cs-CZ"/>
        </a:p>
      </dgm:t>
    </dgm:pt>
    <dgm:pt modelId="{8EA9394C-6849-443E-A49A-195AC150D9F5}" type="pres">
      <dgm:prSet presAssocID="{24A18447-D245-45C7-BF20-D13AC88BF6AA}" presName="textNode" presStyleLbl="bgShp" presStyleIdx="0" presStyleCnt="3"/>
      <dgm:spPr/>
      <dgm:t>
        <a:bodyPr/>
        <a:lstStyle/>
        <a:p>
          <a:endParaRPr lang="cs-CZ"/>
        </a:p>
      </dgm:t>
    </dgm:pt>
    <dgm:pt modelId="{CE70350A-4886-4F33-8559-7BFFFEC53FA4}" type="pres">
      <dgm:prSet presAssocID="{24A18447-D245-45C7-BF20-D13AC88BF6AA}" presName="compChildNode" presStyleCnt="0"/>
      <dgm:spPr/>
    </dgm:pt>
    <dgm:pt modelId="{3C38B9BB-9119-48C0-81C3-69D622B84451}" type="pres">
      <dgm:prSet presAssocID="{24A18447-D245-45C7-BF20-D13AC88BF6AA}" presName="theInnerList" presStyleCnt="0"/>
      <dgm:spPr/>
    </dgm:pt>
    <dgm:pt modelId="{E4CB5A89-B8A5-4C06-B3A6-598042C89CBF}" type="pres">
      <dgm:prSet presAssocID="{25217471-359C-4990-A124-7FCB385BB479}" presName="child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16F242C5-4421-403E-94AB-3072A18A7414}" type="pres">
      <dgm:prSet presAssocID="{25217471-359C-4990-A124-7FCB385BB479}" presName="aSpace2" presStyleCnt="0"/>
      <dgm:spPr/>
    </dgm:pt>
    <dgm:pt modelId="{F84062E4-C6C5-44FF-9771-46985E9F9D80}" type="pres">
      <dgm:prSet presAssocID="{B271A1D1-6038-4909-A389-F075E0C8C303}" presName="childNode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FD64F9B8-E53D-44B9-805A-6E19C83733CB}" type="pres">
      <dgm:prSet presAssocID="{B271A1D1-6038-4909-A389-F075E0C8C303}" presName="aSpace2" presStyleCnt="0"/>
      <dgm:spPr/>
    </dgm:pt>
    <dgm:pt modelId="{35ADE723-0FF9-423F-ABF9-821C8DC88A96}" type="pres">
      <dgm:prSet presAssocID="{9DC39A63-8328-4B5B-9DF5-5501FF7D7773}" presName="childNode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CDE3913F-E756-46AA-98A7-C8A66C055829}" type="pres">
      <dgm:prSet presAssocID="{24A18447-D245-45C7-BF20-D13AC88BF6AA}" presName="aSpace" presStyleCnt="0"/>
      <dgm:spPr/>
    </dgm:pt>
    <dgm:pt modelId="{8D7FF694-F803-4A28-BD36-93AD0D23C26E}" type="pres">
      <dgm:prSet presAssocID="{97829D8A-C50F-4FAA-AFA4-D5A8B98F680D}" presName="compNode" presStyleCnt="0"/>
      <dgm:spPr/>
    </dgm:pt>
    <dgm:pt modelId="{C1C7907F-065C-4526-9CCE-A7AD67D491DA}" type="pres">
      <dgm:prSet presAssocID="{97829D8A-C50F-4FAA-AFA4-D5A8B98F680D}" presName="aNode" presStyleLbl="bgShp" presStyleIdx="1" presStyleCnt="3" custLinFactNeighborX="-2000"/>
      <dgm:spPr/>
      <dgm:t>
        <a:bodyPr/>
        <a:lstStyle/>
        <a:p>
          <a:endParaRPr lang="cs-CZ"/>
        </a:p>
      </dgm:t>
    </dgm:pt>
    <dgm:pt modelId="{0A94EE4F-EC5D-4418-ADBF-C2E2BE501024}" type="pres">
      <dgm:prSet presAssocID="{97829D8A-C50F-4FAA-AFA4-D5A8B98F680D}" presName="textNode" presStyleLbl="bgShp" presStyleIdx="1" presStyleCnt="3"/>
      <dgm:spPr/>
      <dgm:t>
        <a:bodyPr/>
        <a:lstStyle/>
        <a:p>
          <a:endParaRPr lang="cs-CZ"/>
        </a:p>
      </dgm:t>
    </dgm:pt>
    <dgm:pt modelId="{A55E7D19-50E5-4840-9A0D-E406243269D1}" type="pres">
      <dgm:prSet presAssocID="{97829D8A-C50F-4FAA-AFA4-D5A8B98F680D}" presName="compChildNode" presStyleCnt="0"/>
      <dgm:spPr/>
    </dgm:pt>
    <dgm:pt modelId="{C1ACDCB7-155E-40AA-89BA-DA75B1C692B2}" type="pres">
      <dgm:prSet presAssocID="{97829D8A-C50F-4FAA-AFA4-D5A8B98F680D}" presName="theInnerList" presStyleCnt="0"/>
      <dgm:spPr/>
    </dgm:pt>
    <dgm:pt modelId="{63624934-BCFD-42F4-97BC-8EEC73A3EDE7}" type="pres">
      <dgm:prSet presAssocID="{5A1AA97C-9655-470B-8936-D8C950D97F14}" presName="childNode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B4FD0305-0B6D-435A-B2F7-85E379E4F756}" type="pres">
      <dgm:prSet presAssocID="{5A1AA97C-9655-470B-8936-D8C950D97F14}" presName="aSpace2" presStyleCnt="0"/>
      <dgm:spPr/>
    </dgm:pt>
    <dgm:pt modelId="{2C65F4B9-BAAD-422D-A659-81A1ABE999F0}" type="pres">
      <dgm:prSet presAssocID="{FA430C35-4BFB-4F51-BFEE-F4EF02FF31CA}" presName="childNode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B7635BFF-0E27-4263-9936-4227AE36BA75}" type="pres">
      <dgm:prSet presAssocID="{97829D8A-C50F-4FAA-AFA4-D5A8B98F680D}" presName="aSpace" presStyleCnt="0"/>
      <dgm:spPr/>
    </dgm:pt>
    <dgm:pt modelId="{ABEE6A34-8061-4F6C-86EF-0E93ED653B0A}" type="pres">
      <dgm:prSet presAssocID="{B10EC82C-C26B-462F-8FF3-A17E9351A5BD}" presName="compNode" presStyleCnt="0"/>
      <dgm:spPr/>
    </dgm:pt>
    <dgm:pt modelId="{62D1D737-4095-401F-904E-931A287E6C36}" type="pres">
      <dgm:prSet presAssocID="{B10EC82C-C26B-462F-8FF3-A17E9351A5BD}" presName="aNode" presStyleLbl="bgShp" presStyleIdx="2" presStyleCnt="3" custLinFactNeighborX="-5290"/>
      <dgm:spPr/>
      <dgm:t>
        <a:bodyPr/>
        <a:lstStyle/>
        <a:p>
          <a:endParaRPr lang="cs-CZ"/>
        </a:p>
      </dgm:t>
    </dgm:pt>
    <dgm:pt modelId="{2CF9C8A4-B980-4EA9-B1D2-69CCC10B25DB}" type="pres">
      <dgm:prSet presAssocID="{B10EC82C-C26B-462F-8FF3-A17E9351A5BD}" presName="textNode" presStyleLbl="bgShp" presStyleIdx="2" presStyleCnt="3"/>
      <dgm:spPr/>
      <dgm:t>
        <a:bodyPr/>
        <a:lstStyle/>
        <a:p>
          <a:endParaRPr lang="cs-CZ"/>
        </a:p>
      </dgm:t>
    </dgm:pt>
    <dgm:pt modelId="{850F73B0-D716-4A3D-8E51-0DAABBA3BF1E}" type="pres">
      <dgm:prSet presAssocID="{B10EC82C-C26B-462F-8FF3-A17E9351A5BD}" presName="compChildNode" presStyleCnt="0"/>
      <dgm:spPr/>
    </dgm:pt>
    <dgm:pt modelId="{285DC633-C4ED-400D-8BEB-AE802DFABE57}" type="pres">
      <dgm:prSet presAssocID="{B10EC82C-C26B-462F-8FF3-A17E9351A5BD}" presName="theInnerList" presStyleCnt="0"/>
      <dgm:spPr/>
    </dgm:pt>
    <dgm:pt modelId="{9E67A2BA-8EC3-4C62-B656-44B034EAC88C}" type="pres">
      <dgm:prSet presAssocID="{D053895B-CFC2-4E8B-A5D8-555023C86106}" presName="childNode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93A3CC23-5A79-4797-8647-35CD6B43EBD3}" type="pres">
      <dgm:prSet presAssocID="{D053895B-CFC2-4E8B-A5D8-555023C86106}" presName="aSpace2" presStyleCnt="0"/>
      <dgm:spPr/>
    </dgm:pt>
    <dgm:pt modelId="{EF8C3D7A-F268-4083-95D9-E45297F78DD9}" type="pres">
      <dgm:prSet presAssocID="{B3B37DD8-6F21-40D5-B68C-99904B887B6F}" presName="childNode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</dgm:ptLst>
  <dgm:cxnLst>
    <dgm:cxn modelId="{602D550E-F296-4AD4-943B-454176BEF1A2}" srcId="{97829D8A-C50F-4FAA-AFA4-D5A8B98F680D}" destId="{5A1AA97C-9655-470B-8936-D8C950D97F14}" srcOrd="0" destOrd="0" parTransId="{7A10B4E9-E2BA-4B81-834C-97BA23B19CF7}" sibTransId="{0ACBFDD0-2A68-4DCA-8B7A-2D9B520D9FB5}"/>
    <dgm:cxn modelId="{19971CE7-429B-41D8-84BE-DB540E0AC612}" type="presOf" srcId="{FA430C35-4BFB-4F51-BFEE-F4EF02FF31CA}" destId="{2C65F4B9-BAAD-422D-A659-81A1ABE999F0}" srcOrd="0" destOrd="0" presId="urn:microsoft.com/office/officeart/2005/8/layout/lProcess2"/>
    <dgm:cxn modelId="{B3C3F0A1-DBEA-4C32-9BBA-72C24227ADFD}" type="presOf" srcId="{5A1AA97C-9655-470B-8936-D8C950D97F14}" destId="{63624934-BCFD-42F4-97BC-8EEC73A3EDE7}" srcOrd="0" destOrd="0" presId="urn:microsoft.com/office/officeart/2005/8/layout/lProcess2"/>
    <dgm:cxn modelId="{F57156DD-2B52-4EB7-B4CB-961535341142}" type="presOf" srcId="{C1AE8C68-8566-477E-AB22-CB944EAAB224}" destId="{25C262C0-C40E-4BE0-90B3-C3E90E883329}" srcOrd="0" destOrd="0" presId="urn:microsoft.com/office/officeart/2005/8/layout/lProcess2"/>
    <dgm:cxn modelId="{D6089FBF-201B-4F08-BBAA-72F202F468F9}" srcId="{24A18447-D245-45C7-BF20-D13AC88BF6AA}" destId="{25217471-359C-4990-A124-7FCB385BB479}" srcOrd="0" destOrd="0" parTransId="{89A315C8-B3E2-4C38-B0E6-A1C25ADF25D7}" sibTransId="{5428D1BA-36D5-48ED-B0A1-E8874AF16CEE}"/>
    <dgm:cxn modelId="{90821C05-5E44-404F-AA46-8C43D7B9D513}" srcId="{B10EC82C-C26B-462F-8FF3-A17E9351A5BD}" destId="{D053895B-CFC2-4E8B-A5D8-555023C86106}" srcOrd="0" destOrd="0" parTransId="{751357C7-4C56-49FC-9395-B29A732D9D67}" sibTransId="{D51FCD15-81D9-4533-9955-58B1C86371B3}"/>
    <dgm:cxn modelId="{B76A0F0B-9783-4A1C-9CAB-F05EB52F9A3B}" type="presOf" srcId="{97829D8A-C50F-4FAA-AFA4-D5A8B98F680D}" destId="{C1C7907F-065C-4526-9CCE-A7AD67D491DA}" srcOrd="0" destOrd="0" presId="urn:microsoft.com/office/officeart/2005/8/layout/lProcess2"/>
    <dgm:cxn modelId="{652B4E77-1177-4A93-A97A-8E0D1E3BA8B0}" type="presOf" srcId="{B3B37DD8-6F21-40D5-B68C-99904B887B6F}" destId="{EF8C3D7A-F268-4083-95D9-E45297F78DD9}" srcOrd="0" destOrd="0" presId="urn:microsoft.com/office/officeart/2005/8/layout/lProcess2"/>
    <dgm:cxn modelId="{13A25E49-8EB6-4340-B0DE-281D1CEFA4D6}" srcId="{24A18447-D245-45C7-BF20-D13AC88BF6AA}" destId="{9DC39A63-8328-4B5B-9DF5-5501FF7D7773}" srcOrd="2" destOrd="0" parTransId="{69D16CC7-9F11-4F6F-892A-8E4D4E165446}" sibTransId="{2FD7E981-353D-42D1-A6F1-E0A0EEB508C8}"/>
    <dgm:cxn modelId="{76FB8156-E3C2-444E-925D-81264BAFED94}" srcId="{C1AE8C68-8566-477E-AB22-CB944EAAB224}" destId="{97829D8A-C50F-4FAA-AFA4-D5A8B98F680D}" srcOrd="1" destOrd="0" parTransId="{72E4BE65-DCEC-40A6-B364-120247FFC2F7}" sibTransId="{CBB6C752-9702-4B42-8430-B0024A916AAA}"/>
    <dgm:cxn modelId="{A1CC2FC5-57AB-4B0F-96EF-1D385EB871C8}" type="presOf" srcId="{B271A1D1-6038-4909-A389-F075E0C8C303}" destId="{F84062E4-C6C5-44FF-9771-46985E9F9D80}" srcOrd="0" destOrd="0" presId="urn:microsoft.com/office/officeart/2005/8/layout/lProcess2"/>
    <dgm:cxn modelId="{9DA00ECF-E6C0-46DA-9A21-10F83923F786}" type="presOf" srcId="{25217471-359C-4990-A124-7FCB385BB479}" destId="{E4CB5A89-B8A5-4C06-B3A6-598042C89CBF}" srcOrd="0" destOrd="0" presId="urn:microsoft.com/office/officeart/2005/8/layout/lProcess2"/>
    <dgm:cxn modelId="{A5DAA025-1E8E-4A3C-85CE-6BA7A291B7B3}" type="presOf" srcId="{D053895B-CFC2-4E8B-A5D8-555023C86106}" destId="{9E67A2BA-8EC3-4C62-B656-44B034EAC88C}" srcOrd="0" destOrd="0" presId="urn:microsoft.com/office/officeart/2005/8/layout/lProcess2"/>
    <dgm:cxn modelId="{21FDD3D6-7E1E-44D1-B52F-8DF15C308BE9}" type="presOf" srcId="{B10EC82C-C26B-462F-8FF3-A17E9351A5BD}" destId="{2CF9C8A4-B980-4EA9-B1D2-69CCC10B25DB}" srcOrd="1" destOrd="0" presId="urn:microsoft.com/office/officeart/2005/8/layout/lProcess2"/>
    <dgm:cxn modelId="{AFA47F7D-AA2C-4FF1-B975-422A5C1AE75B}" srcId="{B10EC82C-C26B-462F-8FF3-A17E9351A5BD}" destId="{B3B37DD8-6F21-40D5-B68C-99904B887B6F}" srcOrd="1" destOrd="0" parTransId="{DB15025F-3AEB-4276-81E5-5BDDB2C78B33}" sibTransId="{2FEB9633-69FC-4EE1-AF2F-55FC62EB7A00}"/>
    <dgm:cxn modelId="{6AE404D8-1455-4FEB-95C5-02249A596A74}" srcId="{97829D8A-C50F-4FAA-AFA4-D5A8B98F680D}" destId="{FA430C35-4BFB-4F51-BFEE-F4EF02FF31CA}" srcOrd="1" destOrd="0" parTransId="{595705D0-A425-4C12-9CCA-30A74B48CE1D}" sibTransId="{0D8DE763-06AA-461F-A6DA-22FEAFA08657}"/>
    <dgm:cxn modelId="{43E28EF5-582D-4374-9886-1EBE0E227464}" type="presOf" srcId="{24A18447-D245-45C7-BF20-D13AC88BF6AA}" destId="{8EA9394C-6849-443E-A49A-195AC150D9F5}" srcOrd="1" destOrd="0" presId="urn:microsoft.com/office/officeart/2005/8/layout/lProcess2"/>
    <dgm:cxn modelId="{029AFC4B-9ED1-42F4-8566-6064AE4588DE}" type="presOf" srcId="{97829D8A-C50F-4FAA-AFA4-D5A8B98F680D}" destId="{0A94EE4F-EC5D-4418-ADBF-C2E2BE501024}" srcOrd="1" destOrd="0" presId="urn:microsoft.com/office/officeart/2005/8/layout/lProcess2"/>
    <dgm:cxn modelId="{55D3943E-1FAC-4BBB-B13A-6480D8809C05}" type="presOf" srcId="{B10EC82C-C26B-462F-8FF3-A17E9351A5BD}" destId="{62D1D737-4095-401F-904E-931A287E6C36}" srcOrd="0" destOrd="0" presId="urn:microsoft.com/office/officeart/2005/8/layout/lProcess2"/>
    <dgm:cxn modelId="{9CFB13ED-9513-4063-8D1F-8171C1A522F5}" type="presOf" srcId="{9DC39A63-8328-4B5B-9DF5-5501FF7D7773}" destId="{35ADE723-0FF9-423F-ABF9-821C8DC88A96}" srcOrd="0" destOrd="0" presId="urn:microsoft.com/office/officeart/2005/8/layout/lProcess2"/>
    <dgm:cxn modelId="{2CA4FE55-3938-4845-8ACA-7C3FD8DE0FCA}" type="presOf" srcId="{24A18447-D245-45C7-BF20-D13AC88BF6AA}" destId="{53E39804-A1AF-4E85-8049-907197CF558A}" srcOrd="0" destOrd="0" presId="urn:microsoft.com/office/officeart/2005/8/layout/lProcess2"/>
    <dgm:cxn modelId="{B95D0B55-9489-40F2-8B58-39F489090FCB}" srcId="{24A18447-D245-45C7-BF20-D13AC88BF6AA}" destId="{B271A1D1-6038-4909-A389-F075E0C8C303}" srcOrd="1" destOrd="0" parTransId="{8FD3FC81-10DC-4C92-85D0-E1B2E2FDFBE2}" sibTransId="{8DF92FBF-DF3E-42F2-8E99-1F0AB26BC5FD}"/>
    <dgm:cxn modelId="{918A5D18-C33B-487A-A897-72438D125E78}" srcId="{C1AE8C68-8566-477E-AB22-CB944EAAB224}" destId="{B10EC82C-C26B-462F-8FF3-A17E9351A5BD}" srcOrd="2" destOrd="0" parTransId="{603C9901-375C-4195-ADA4-FBACD4BAA5E6}" sibTransId="{155D8942-F95B-49C1-8D5E-890A21184C3E}"/>
    <dgm:cxn modelId="{816BE7E0-AA89-4C2C-8761-779D28A65DAD}" srcId="{C1AE8C68-8566-477E-AB22-CB944EAAB224}" destId="{24A18447-D245-45C7-BF20-D13AC88BF6AA}" srcOrd="0" destOrd="0" parTransId="{E5E51732-20B2-45FD-AB7B-4DDA50C5AB60}" sibTransId="{3C9ED37E-483C-4189-B35B-2B954B3CFB7F}"/>
    <dgm:cxn modelId="{83730B6A-815E-4A52-8B3E-8C22E7824B14}" type="presParOf" srcId="{25C262C0-C40E-4BE0-90B3-C3E90E883329}" destId="{D37C712C-7B25-4B20-AFC8-417054A332D5}" srcOrd="0" destOrd="0" presId="urn:microsoft.com/office/officeart/2005/8/layout/lProcess2"/>
    <dgm:cxn modelId="{73C6B4F7-CF4B-45E5-85A0-151C34738843}" type="presParOf" srcId="{D37C712C-7B25-4B20-AFC8-417054A332D5}" destId="{53E39804-A1AF-4E85-8049-907197CF558A}" srcOrd="0" destOrd="0" presId="urn:microsoft.com/office/officeart/2005/8/layout/lProcess2"/>
    <dgm:cxn modelId="{D5061D61-E379-494F-AAEF-0590BAA3BEEF}" type="presParOf" srcId="{D37C712C-7B25-4B20-AFC8-417054A332D5}" destId="{8EA9394C-6849-443E-A49A-195AC150D9F5}" srcOrd="1" destOrd="0" presId="urn:microsoft.com/office/officeart/2005/8/layout/lProcess2"/>
    <dgm:cxn modelId="{332CE812-9295-4AAA-B084-32F84D8E38E1}" type="presParOf" srcId="{D37C712C-7B25-4B20-AFC8-417054A332D5}" destId="{CE70350A-4886-4F33-8559-7BFFFEC53FA4}" srcOrd="2" destOrd="0" presId="urn:microsoft.com/office/officeart/2005/8/layout/lProcess2"/>
    <dgm:cxn modelId="{00642714-D397-4892-868C-3FA03A46D926}" type="presParOf" srcId="{CE70350A-4886-4F33-8559-7BFFFEC53FA4}" destId="{3C38B9BB-9119-48C0-81C3-69D622B84451}" srcOrd="0" destOrd="0" presId="urn:microsoft.com/office/officeart/2005/8/layout/lProcess2"/>
    <dgm:cxn modelId="{BF5A278F-DEA6-4954-9A65-412BED3B8E24}" type="presParOf" srcId="{3C38B9BB-9119-48C0-81C3-69D622B84451}" destId="{E4CB5A89-B8A5-4C06-B3A6-598042C89CBF}" srcOrd="0" destOrd="0" presId="urn:microsoft.com/office/officeart/2005/8/layout/lProcess2"/>
    <dgm:cxn modelId="{25FA19BA-7878-4FA3-AFE4-3917E38BBCC8}" type="presParOf" srcId="{3C38B9BB-9119-48C0-81C3-69D622B84451}" destId="{16F242C5-4421-403E-94AB-3072A18A7414}" srcOrd="1" destOrd="0" presId="urn:microsoft.com/office/officeart/2005/8/layout/lProcess2"/>
    <dgm:cxn modelId="{2C779160-ED8F-48ED-BF3A-EDE92DC7EEEA}" type="presParOf" srcId="{3C38B9BB-9119-48C0-81C3-69D622B84451}" destId="{F84062E4-C6C5-44FF-9771-46985E9F9D80}" srcOrd="2" destOrd="0" presId="urn:microsoft.com/office/officeart/2005/8/layout/lProcess2"/>
    <dgm:cxn modelId="{FF58296F-C8AD-4963-A572-F5935194D4FF}" type="presParOf" srcId="{3C38B9BB-9119-48C0-81C3-69D622B84451}" destId="{FD64F9B8-E53D-44B9-805A-6E19C83733CB}" srcOrd="3" destOrd="0" presId="urn:microsoft.com/office/officeart/2005/8/layout/lProcess2"/>
    <dgm:cxn modelId="{93EFB7E3-ADE5-4C18-AE67-BE774EF466AB}" type="presParOf" srcId="{3C38B9BB-9119-48C0-81C3-69D622B84451}" destId="{35ADE723-0FF9-423F-ABF9-821C8DC88A96}" srcOrd="4" destOrd="0" presId="urn:microsoft.com/office/officeart/2005/8/layout/lProcess2"/>
    <dgm:cxn modelId="{9DB2C88D-D92D-4116-A165-6B9F04E29DEE}" type="presParOf" srcId="{25C262C0-C40E-4BE0-90B3-C3E90E883329}" destId="{CDE3913F-E756-46AA-98A7-C8A66C055829}" srcOrd="1" destOrd="0" presId="urn:microsoft.com/office/officeart/2005/8/layout/lProcess2"/>
    <dgm:cxn modelId="{90D00A50-2614-4A29-B7B8-EF93B89B58BA}" type="presParOf" srcId="{25C262C0-C40E-4BE0-90B3-C3E90E883329}" destId="{8D7FF694-F803-4A28-BD36-93AD0D23C26E}" srcOrd="2" destOrd="0" presId="urn:microsoft.com/office/officeart/2005/8/layout/lProcess2"/>
    <dgm:cxn modelId="{CE05E733-8CBC-433B-9985-53CF6D645473}" type="presParOf" srcId="{8D7FF694-F803-4A28-BD36-93AD0D23C26E}" destId="{C1C7907F-065C-4526-9CCE-A7AD67D491DA}" srcOrd="0" destOrd="0" presId="urn:microsoft.com/office/officeart/2005/8/layout/lProcess2"/>
    <dgm:cxn modelId="{72F1A769-FF72-4321-A8B7-AD8B5144CF88}" type="presParOf" srcId="{8D7FF694-F803-4A28-BD36-93AD0D23C26E}" destId="{0A94EE4F-EC5D-4418-ADBF-C2E2BE501024}" srcOrd="1" destOrd="0" presId="urn:microsoft.com/office/officeart/2005/8/layout/lProcess2"/>
    <dgm:cxn modelId="{04F7CEBD-96E8-4D20-BB0B-DF7AE8BF9030}" type="presParOf" srcId="{8D7FF694-F803-4A28-BD36-93AD0D23C26E}" destId="{A55E7D19-50E5-4840-9A0D-E406243269D1}" srcOrd="2" destOrd="0" presId="urn:microsoft.com/office/officeart/2005/8/layout/lProcess2"/>
    <dgm:cxn modelId="{F86337A6-6FD1-4F3B-8590-81CFCFADD551}" type="presParOf" srcId="{A55E7D19-50E5-4840-9A0D-E406243269D1}" destId="{C1ACDCB7-155E-40AA-89BA-DA75B1C692B2}" srcOrd="0" destOrd="0" presId="urn:microsoft.com/office/officeart/2005/8/layout/lProcess2"/>
    <dgm:cxn modelId="{C9ED3B31-56FB-453A-8CE8-8DD1C8502849}" type="presParOf" srcId="{C1ACDCB7-155E-40AA-89BA-DA75B1C692B2}" destId="{63624934-BCFD-42F4-97BC-8EEC73A3EDE7}" srcOrd="0" destOrd="0" presId="urn:microsoft.com/office/officeart/2005/8/layout/lProcess2"/>
    <dgm:cxn modelId="{0F044209-D794-435A-BE92-15F2BACC3B00}" type="presParOf" srcId="{C1ACDCB7-155E-40AA-89BA-DA75B1C692B2}" destId="{B4FD0305-0B6D-435A-B2F7-85E379E4F756}" srcOrd="1" destOrd="0" presId="urn:microsoft.com/office/officeart/2005/8/layout/lProcess2"/>
    <dgm:cxn modelId="{24DD0E50-5927-4981-829D-97F82570506A}" type="presParOf" srcId="{C1ACDCB7-155E-40AA-89BA-DA75B1C692B2}" destId="{2C65F4B9-BAAD-422D-A659-81A1ABE999F0}" srcOrd="2" destOrd="0" presId="urn:microsoft.com/office/officeart/2005/8/layout/lProcess2"/>
    <dgm:cxn modelId="{1242BDAE-E6EE-4203-A2AA-72A17AA13BE7}" type="presParOf" srcId="{25C262C0-C40E-4BE0-90B3-C3E90E883329}" destId="{B7635BFF-0E27-4263-9936-4227AE36BA75}" srcOrd="3" destOrd="0" presId="urn:microsoft.com/office/officeart/2005/8/layout/lProcess2"/>
    <dgm:cxn modelId="{9903A85C-A695-4F10-81B2-C813067F8E46}" type="presParOf" srcId="{25C262C0-C40E-4BE0-90B3-C3E90E883329}" destId="{ABEE6A34-8061-4F6C-86EF-0E93ED653B0A}" srcOrd="4" destOrd="0" presId="urn:microsoft.com/office/officeart/2005/8/layout/lProcess2"/>
    <dgm:cxn modelId="{0D51A4E8-E4A4-4B20-963C-DEB9B8701FB2}" type="presParOf" srcId="{ABEE6A34-8061-4F6C-86EF-0E93ED653B0A}" destId="{62D1D737-4095-401F-904E-931A287E6C36}" srcOrd="0" destOrd="0" presId="urn:microsoft.com/office/officeart/2005/8/layout/lProcess2"/>
    <dgm:cxn modelId="{EDA37B4F-D1D7-4801-8FA4-035B2E10704D}" type="presParOf" srcId="{ABEE6A34-8061-4F6C-86EF-0E93ED653B0A}" destId="{2CF9C8A4-B980-4EA9-B1D2-69CCC10B25DB}" srcOrd="1" destOrd="0" presId="urn:microsoft.com/office/officeart/2005/8/layout/lProcess2"/>
    <dgm:cxn modelId="{C45D2BB9-71D2-492C-9EDF-35B1E02C1B03}" type="presParOf" srcId="{ABEE6A34-8061-4F6C-86EF-0E93ED653B0A}" destId="{850F73B0-D716-4A3D-8E51-0DAABBA3BF1E}" srcOrd="2" destOrd="0" presId="urn:microsoft.com/office/officeart/2005/8/layout/lProcess2"/>
    <dgm:cxn modelId="{48FEF792-8014-421B-9E86-CF700BEEC1FB}" type="presParOf" srcId="{850F73B0-D716-4A3D-8E51-0DAABBA3BF1E}" destId="{285DC633-C4ED-400D-8BEB-AE802DFABE57}" srcOrd="0" destOrd="0" presId="urn:microsoft.com/office/officeart/2005/8/layout/lProcess2"/>
    <dgm:cxn modelId="{62ED51A7-E6B1-4A1B-8672-E2F6253C4D9C}" type="presParOf" srcId="{285DC633-C4ED-400D-8BEB-AE802DFABE57}" destId="{9E67A2BA-8EC3-4C62-B656-44B034EAC88C}" srcOrd="0" destOrd="0" presId="urn:microsoft.com/office/officeart/2005/8/layout/lProcess2"/>
    <dgm:cxn modelId="{B701AAE4-AF0F-4235-A557-C7C6BED3BD42}" type="presParOf" srcId="{285DC633-C4ED-400D-8BEB-AE802DFABE57}" destId="{93A3CC23-5A79-4797-8647-35CD6B43EBD3}" srcOrd="1" destOrd="0" presId="urn:microsoft.com/office/officeart/2005/8/layout/lProcess2"/>
    <dgm:cxn modelId="{9256F569-70BC-499A-A596-3D54033B67B4}" type="presParOf" srcId="{285DC633-C4ED-400D-8BEB-AE802DFABE57}" destId="{EF8C3D7A-F268-4083-95D9-E45297F78DD9}" srcOrd="2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1AE8C68-8566-477E-AB22-CB944EAAB224}" type="doc">
      <dgm:prSet loTypeId="urn:microsoft.com/office/officeart/2005/8/layout/lProcess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cs-CZ"/>
        </a:p>
      </dgm:t>
    </dgm:pt>
    <dgm:pt modelId="{25217471-359C-4990-A124-7FCB385BB479}">
      <dgm:prSet phldrT="[Text]" custT="1"/>
      <dgm:spPr/>
      <dgm:t>
        <a:bodyPr/>
        <a:lstStyle/>
        <a:p>
          <a:r>
            <a:rPr lang="cs-CZ" sz="2000" dirty="0" smtClean="0"/>
            <a:t>VLIV MATEŘSKÉHO JAZYKA NA PŘEKLAD</a:t>
          </a:r>
          <a:endParaRPr lang="cs-CZ" sz="2000" dirty="0"/>
        </a:p>
      </dgm:t>
    </dgm:pt>
    <dgm:pt modelId="{89A315C8-B3E2-4C38-B0E6-A1C25ADF25D7}" type="parTrans" cxnId="{D6089FBF-201B-4F08-BBAA-72F202F468F9}">
      <dgm:prSet/>
      <dgm:spPr/>
      <dgm:t>
        <a:bodyPr/>
        <a:lstStyle/>
        <a:p>
          <a:endParaRPr lang="cs-CZ"/>
        </a:p>
      </dgm:t>
    </dgm:pt>
    <dgm:pt modelId="{5428D1BA-36D5-48ED-B0A1-E8874AF16CEE}" type="sibTrans" cxnId="{D6089FBF-201B-4F08-BBAA-72F202F468F9}">
      <dgm:prSet/>
      <dgm:spPr/>
      <dgm:t>
        <a:bodyPr/>
        <a:lstStyle/>
        <a:p>
          <a:endParaRPr lang="cs-CZ"/>
        </a:p>
      </dgm:t>
    </dgm:pt>
    <dgm:pt modelId="{9DC39A63-8328-4B5B-9DF5-5501FF7D7773}">
      <dgm:prSet custT="1"/>
      <dgm:spPr/>
      <dgm:t>
        <a:bodyPr/>
        <a:lstStyle/>
        <a:p>
          <a:pPr algn="l"/>
          <a:r>
            <a:rPr lang="cs-CZ" sz="1800" b="0" i="0" dirty="0" smtClean="0"/>
            <a:t>Nadužívání příslovcí </a:t>
          </a:r>
          <a:r>
            <a:rPr lang="cs-CZ" sz="1800" b="0" i="1" dirty="0" smtClean="0"/>
            <a:t>– </a:t>
          </a:r>
          <a:r>
            <a:rPr lang="cs-CZ" sz="1800" b="0" i="1" dirty="0" err="1" smtClean="0"/>
            <a:t>mente</a:t>
          </a:r>
          <a:r>
            <a:rPr lang="cs-CZ" sz="1800" b="0" i="1" dirty="0" smtClean="0"/>
            <a:t>.</a:t>
          </a:r>
        </a:p>
        <a:p>
          <a:pPr algn="l"/>
          <a:r>
            <a:rPr lang="cs-CZ" sz="1800" b="0" i="0" dirty="0" smtClean="0"/>
            <a:t>Nesprávné použití gerundia.</a:t>
          </a:r>
        </a:p>
        <a:p>
          <a:pPr algn="l"/>
          <a:r>
            <a:rPr lang="cs-CZ" sz="1800" b="0" i="0" dirty="0" smtClean="0"/>
            <a:t>Nesprávný přepis číslovek.</a:t>
          </a:r>
        </a:p>
        <a:p>
          <a:pPr algn="l"/>
          <a:r>
            <a:rPr lang="cs-CZ" sz="1800" b="0" i="0" dirty="0" smtClean="0"/>
            <a:t>Chybný převod měřítek.</a:t>
          </a:r>
        </a:p>
        <a:p>
          <a:pPr algn="l"/>
          <a:r>
            <a:rPr lang="cs-CZ" sz="1800" b="0" i="0" dirty="0" smtClean="0"/>
            <a:t>Neekvivalentní převádění zkratek.</a:t>
          </a:r>
        </a:p>
        <a:p>
          <a:pPr algn="l"/>
          <a:r>
            <a:rPr lang="cs-CZ" sz="1800" b="0" i="0" dirty="0" smtClean="0"/>
            <a:t>Nesprávná syntax.</a:t>
          </a:r>
          <a:endParaRPr lang="cs-CZ" sz="1800" b="0" i="0" dirty="0"/>
        </a:p>
      </dgm:t>
    </dgm:pt>
    <dgm:pt modelId="{69D16CC7-9F11-4F6F-892A-8E4D4E165446}" type="parTrans" cxnId="{13A25E49-8EB6-4340-B0DE-281D1CEFA4D6}">
      <dgm:prSet/>
      <dgm:spPr/>
      <dgm:t>
        <a:bodyPr/>
        <a:lstStyle/>
        <a:p>
          <a:endParaRPr lang="cs-CZ"/>
        </a:p>
      </dgm:t>
    </dgm:pt>
    <dgm:pt modelId="{2FD7E981-353D-42D1-A6F1-E0A0EEB508C8}" type="sibTrans" cxnId="{13A25E49-8EB6-4340-B0DE-281D1CEFA4D6}">
      <dgm:prSet/>
      <dgm:spPr/>
      <dgm:t>
        <a:bodyPr/>
        <a:lstStyle/>
        <a:p>
          <a:endParaRPr lang="cs-CZ"/>
        </a:p>
      </dgm:t>
    </dgm:pt>
    <dgm:pt modelId="{25C262C0-C40E-4BE0-90B3-C3E90E883329}" type="pres">
      <dgm:prSet presAssocID="{C1AE8C68-8566-477E-AB22-CB944EAAB224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cs-CZ"/>
        </a:p>
      </dgm:t>
    </dgm:pt>
    <dgm:pt modelId="{7F261549-9B53-4C18-A26D-1A3716BD9F36}" type="pres">
      <dgm:prSet presAssocID="{25217471-359C-4990-A124-7FCB385BB479}" presName="compNode" presStyleCnt="0"/>
      <dgm:spPr/>
    </dgm:pt>
    <dgm:pt modelId="{31497D9F-1D57-4C47-9FFE-2928845BBC08}" type="pres">
      <dgm:prSet presAssocID="{25217471-359C-4990-A124-7FCB385BB479}" presName="aNode" presStyleLbl="bgShp" presStyleIdx="0" presStyleCnt="1"/>
      <dgm:spPr/>
      <dgm:t>
        <a:bodyPr/>
        <a:lstStyle/>
        <a:p>
          <a:endParaRPr lang="cs-CZ"/>
        </a:p>
      </dgm:t>
    </dgm:pt>
    <dgm:pt modelId="{75DBD3CC-4DCA-4EBF-A80E-A87F01002120}" type="pres">
      <dgm:prSet presAssocID="{25217471-359C-4990-A124-7FCB385BB479}" presName="textNode" presStyleLbl="bgShp" presStyleIdx="0" presStyleCnt="1"/>
      <dgm:spPr/>
      <dgm:t>
        <a:bodyPr/>
        <a:lstStyle/>
        <a:p>
          <a:endParaRPr lang="cs-CZ"/>
        </a:p>
      </dgm:t>
    </dgm:pt>
    <dgm:pt modelId="{B5D8C20A-EBC5-44B5-B425-17A26512FDC3}" type="pres">
      <dgm:prSet presAssocID="{25217471-359C-4990-A124-7FCB385BB479}" presName="compChildNode" presStyleCnt="0"/>
      <dgm:spPr/>
    </dgm:pt>
    <dgm:pt modelId="{485015AB-D82F-46C7-A2D2-CEB22A341EB7}" type="pres">
      <dgm:prSet presAssocID="{25217471-359C-4990-A124-7FCB385BB479}" presName="theInnerList" presStyleCnt="0"/>
      <dgm:spPr/>
    </dgm:pt>
    <dgm:pt modelId="{35ADE723-0FF9-423F-ABF9-821C8DC88A96}" type="pres">
      <dgm:prSet presAssocID="{9DC39A63-8328-4B5B-9DF5-5501FF7D7773}" presName="childNode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</dgm:ptLst>
  <dgm:cxnLst>
    <dgm:cxn modelId="{7E47C937-AF4C-41D2-B124-466E0FB7BF8D}" type="presOf" srcId="{25217471-359C-4990-A124-7FCB385BB479}" destId="{75DBD3CC-4DCA-4EBF-A80E-A87F01002120}" srcOrd="1" destOrd="0" presId="urn:microsoft.com/office/officeart/2005/8/layout/lProcess2"/>
    <dgm:cxn modelId="{D6089FBF-201B-4F08-BBAA-72F202F468F9}" srcId="{C1AE8C68-8566-477E-AB22-CB944EAAB224}" destId="{25217471-359C-4990-A124-7FCB385BB479}" srcOrd="0" destOrd="0" parTransId="{89A315C8-B3E2-4C38-B0E6-A1C25ADF25D7}" sibTransId="{5428D1BA-36D5-48ED-B0A1-E8874AF16CEE}"/>
    <dgm:cxn modelId="{13A25E49-8EB6-4340-B0DE-281D1CEFA4D6}" srcId="{25217471-359C-4990-A124-7FCB385BB479}" destId="{9DC39A63-8328-4B5B-9DF5-5501FF7D7773}" srcOrd="0" destOrd="0" parTransId="{69D16CC7-9F11-4F6F-892A-8E4D4E165446}" sibTransId="{2FD7E981-353D-42D1-A6F1-E0A0EEB508C8}"/>
    <dgm:cxn modelId="{368D5090-5AB3-431B-B692-77077DBFE5E8}" type="presOf" srcId="{C1AE8C68-8566-477E-AB22-CB944EAAB224}" destId="{25C262C0-C40E-4BE0-90B3-C3E90E883329}" srcOrd="0" destOrd="0" presId="urn:microsoft.com/office/officeart/2005/8/layout/lProcess2"/>
    <dgm:cxn modelId="{FB7349CB-4BD6-453D-9365-BBE8577DCF2F}" type="presOf" srcId="{25217471-359C-4990-A124-7FCB385BB479}" destId="{31497D9F-1D57-4C47-9FFE-2928845BBC08}" srcOrd="0" destOrd="0" presId="urn:microsoft.com/office/officeart/2005/8/layout/lProcess2"/>
    <dgm:cxn modelId="{DEBD8BF8-BBD7-49EF-912B-63D9B68A6AA4}" type="presOf" srcId="{9DC39A63-8328-4B5B-9DF5-5501FF7D7773}" destId="{35ADE723-0FF9-423F-ABF9-821C8DC88A96}" srcOrd="0" destOrd="0" presId="urn:microsoft.com/office/officeart/2005/8/layout/lProcess2"/>
    <dgm:cxn modelId="{F02D02FB-0BD2-4BD7-8FC8-18C6667B4F76}" type="presParOf" srcId="{25C262C0-C40E-4BE0-90B3-C3E90E883329}" destId="{7F261549-9B53-4C18-A26D-1A3716BD9F36}" srcOrd="0" destOrd="0" presId="urn:microsoft.com/office/officeart/2005/8/layout/lProcess2"/>
    <dgm:cxn modelId="{69DB6F0C-33FF-4A4B-8679-4C28A1C6919E}" type="presParOf" srcId="{7F261549-9B53-4C18-A26D-1A3716BD9F36}" destId="{31497D9F-1D57-4C47-9FFE-2928845BBC08}" srcOrd="0" destOrd="0" presId="urn:microsoft.com/office/officeart/2005/8/layout/lProcess2"/>
    <dgm:cxn modelId="{19539891-3FDC-4BDB-9A1F-7AFE0A254B5A}" type="presParOf" srcId="{7F261549-9B53-4C18-A26D-1A3716BD9F36}" destId="{75DBD3CC-4DCA-4EBF-A80E-A87F01002120}" srcOrd="1" destOrd="0" presId="urn:microsoft.com/office/officeart/2005/8/layout/lProcess2"/>
    <dgm:cxn modelId="{A69B89B5-0E93-4D91-AD57-ACEDD8B28A77}" type="presParOf" srcId="{7F261549-9B53-4C18-A26D-1A3716BD9F36}" destId="{B5D8C20A-EBC5-44B5-B425-17A26512FDC3}" srcOrd="2" destOrd="0" presId="urn:microsoft.com/office/officeart/2005/8/layout/lProcess2"/>
    <dgm:cxn modelId="{C71178A9-A183-43F6-8907-C1A05E43D203}" type="presParOf" srcId="{B5D8C20A-EBC5-44B5-B425-17A26512FDC3}" destId="{485015AB-D82F-46C7-A2D2-CEB22A341EB7}" srcOrd="0" destOrd="0" presId="urn:microsoft.com/office/officeart/2005/8/layout/lProcess2"/>
    <dgm:cxn modelId="{2D10FFCC-C711-4EC8-8C1B-3BB0BF3FD4D1}" type="presParOf" srcId="{485015AB-D82F-46C7-A2D2-CEB22A341EB7}" destId="{35ADE723-0FF9-423F-ABF9-821C8DC88A96}" srcOrd="0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F39EB98-BF08-43BC-9065-3CBA7B91A12C}">
      <dsp:nvSpPr>
        <dsp:cNvPr id="0" name=""/>
        <dsp:cNvSpPr/>
      </dsp:nvSpPr>
      <dsp:spPr>
        <a:xfrm>
          <a:off x="2406533" y="1260"/>
          <a:ext cx="1452562" cy="94416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800" kern="1200" dirty="0" smtClean="0"/>
            <a:t>IT</a:t>
          </a:r>
          <a:endParaRPr lang="cs-CZ" sz="1800" kern="1200" dirty="0"/>
        </a:p>
      </dsp:txBody>
      <dsp:txXfrm>
        <a:off x="2452623" y="47350"/>
        <a:ext cx="1360382" cy="851985"/>
      </dsp:txXfrm>
    </dsp:sp>
    <dsp:sp modelId="{2CBF3472-3A22-4480-93D4-91A7B9E46E96}">
      <dsp:nvSpPr>
        <dsp:cNvPr id="0" name=""/>
        <dsp:cNvSpPr/>
      </dsp:nvSpPr>
      <dsp:spPr>
        <a:xfrm>
          <a:off x="1245250" y="473343"/>
          <a:ext cx="3775129" cy="3775129"/>
        </a:xfrm>
        <a:custGeom>
          <a:avLst/>
          <a:gdLst/>
          <a:ahLst/>
          <a:cxnLst/>
          <a:rect l="0" t="0" r="0" b="0"/>
          <a:pathLst>
            <a:path>
              <a:moveTo>
                <a:pt x="2744894" y="205932"/>
              </a:moveTo>
              <a:arcTo wR="1887564" hR="1887564" stAng="17820804" swAng="797246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FA97D08-3BF8-4266-9C40-0EE7F330F36A}">
      <dsp:nvSpPr>
        <dsp:cNvPr id="0" name=""/>
        <dsp:cNvSpPr/>
      </dsp:nvSpPr>
      <dsp:spPr>
        <a:xfrm>
          <a:off x="4201714" y="1018872"/>
          <a:ext cx="1452562" cy="151749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800" kern="1200" dirty="0" smtClean="0"/>
            <a:t>Daňové a ekonomické povědomí</a:t>
          </a:r>
          <a:endParaRPr lang="cs-CZ" sz="1800" kern="1200" dirty="0"/>
        </a:p>
      </dsp:txBody>
      <dsp:txXfrm>
        <a:off x="4272622" y="1089780"/>
        <a:ext cx="1310746" cy="1375675"/>
      </dsp:txXfrm>
    </dsp:sp>
    <dsp:sp modelId="{F2345287-A344-4CE4-9F7A-811343F03DE1}">
      <dsp:nvSpPr>
        <dsp:cNvPr id="0" name=""/>
        <dsp:cNvSpPr/>
      </dsp:nvSpPr>
      <dsp:spPr>
        <a:xfrm>
          <a:off x="1245250" y="473343"/>
          <a:ext cx="3775129" cy="3775129"/>
        </a:xfrm>
        <a:custGeom>
          <a:avLst/>
          <a:gdLst/>
          <a:ahLst/>
          <a:cxnLst/>
          <a:rect l="0" t="0" r="0" b="0"/>
          <a:pathLst>
            <a:path>
              <a:moveTo>
                <a:pt x="3740427" y="2247842"/>
              </a:moveTo>
              <a:arcTo wR="1887564" hR="1887564" stAng="660211" swAng="1038441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187A3B-73C9-418F-B89F-7287CEC5D16A}">
      <dsp:nvSpPr>
        <dsp:cNvPr id="0" name=""/>
        <dsp:cNvSpPr/>
      </dsp:nvSpPr>
      <dsp:spPr>
        <a:xfrm>
          <a:off x="3516016" y="3415896"/>
          <a:ext cx="1452562" cy="94416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800" kern="1200" dirty="0" smtClean="0"/>
            <a:t>Právní povědomí</a:t>
          </a:r>
          <a:endParaRPr lang="cs-CZ" sz="1800" kern="1200" dirty="0"/>
        </a:p>
      </dsp:txBody>
      <dsp:txXfrm>
        <a:off x="3562106" y="3461986"/>
        <a:ext cx="1360382" cy="851985"/>
      </dsp:txXfrm>
    </dsp:sp>
    <dsp:sp modelId="{75258AAD-9ADB-4EE7-ADC0-EF350088116D}">
      <dsp:nvSpPr>
        <dsp:cNvPr id="0" name=""/>
        <dsp:cNvSpPr/>
      </dsp:nvSpPr>
      <dsp:spPr>
        <a:xfrm>
          <a:off x="1245250" y="473343"/>
          <a:ext cx="3775129" cy="3775129"/>
        </a:xfrm>
        <a:custGeom>
          <a:avLst/>
          <a:gdLst/>
          <a:ahLst/>
          <a:cxnLst/>
          <a:rect l="0" t="0" r="0" b="0"/>
          <a:pathLst>
            <a:path>
              <a:moveTo>
                <a:pt x="2119579" y="3760815"/>
              </a:moveTo>
              <a:arcTo wR="1887564" hR="1887564" stAng="4976369" swAng="847262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72D28EB-1C9F-425F-BC5E-30580BC8EA57}">
      <dsp:nvSpPr>
        <dsp:cNvPr id="0" name=""/>
        <dsp:cNvSpPr/>
      </dsp:nvSpPr>
      <dsp:spPr>
        <a:xfrm>
          <a:off x="1297051" y="3415896"/>
          <a:ext cx="1452562" cy="94416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800" kern="1200" dirty="0" smtClean="0"/>
            <a:t>Řidičský průkaz</a:t>
          </a:r>
          <a:endParaRPr lang="cs-CZ" sz="1800" kern="1200" dirty="0"/>
        </a:p>
      </dsp:txBody>
      <dsp:txXfrm>
        <a:off x="1343141" y="3461986"/>
        <a:ext cx="1360382" cy="851985"/>
      </dsp:txXfrm>
    </dsp:sp>
    <dsp:sp modelId="{0EABDDFE-7973-4EAC-A0BF-8FE6A8BF88E5}">
      <dsp:nvSpPr>
        <dsp:cNvPr id="0" name=""/>
        <dsp:cNvSpPr/>
      </dsp:nvSpPr>
      <dsp:spPr>
        <a:xfrm>
          <a:off x="1245250" y="473343"/>
          <a:ext cx="3775129" cy="3775129"/>
        </a:xfrm>
        <a:custGeom>
          <a:avLst/>
          <a:gdLst/>
          <a:ahLst/>
          <a:cxnLst/>
          <a:rect l="0" t="0" r="0" b="0"/>
          <a:pathLst>
            <a:path>
              <a:moveTo>
                <a:pt x="223125" y="2777813"/>
              </a:moveTo>
              <a:arcTo wR="1887564" hR="1887564" stAng="9111555" swAng="1070752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EE946C4-AAAE-4696-890C-60E53E674990}">
      <dsp:nvSpPr>
        <dsp:cNvPr id="0" name=""/>
        <dsp:cNvSpPr/>
      </dsp:nvSpPr>
      <dsp:spPr>
        <a:xfrm>
          <a:off x="441722" y="1047716"/>
          <a:ext cx="1791822" cy="145980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800" kern="1200" dirty="0" smtClean="0"/>
            <a:t>Psychologie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800" kern="1200" dirty="0" smtClean="0"/>
            <a:t>(odolnost vůči únavě a stresu</a:t>
          </a:r>
          <a:r>
            <a:rPr lang="cs-CZ" sz="1400" kern="1200" dirty="0" smtClean="0"/>
            <a:t>)</a:t>
          </a:r>
          <a:endParaRPr lang="cs-CZ" sz="1400" kern="1200" dirty="0"/>
        </a:p>
      </dsp:txBody>
      <dsp:txXfrm>
        <a:off x="512984" y="1118978"/>
        <a:ext cx="1649298" cy="1317278"/>
      </dsp:txXfrm>
    </dsp:sp>
    <dsp:sp modelId="{5FF7B9B4-F034-48E7-ADD2-ADB10B738115}">
      <dsp:nvSpPr>
        <dsp:cNvPr id="0" name=""/>
        <dsp:cNvSpPr/>
      </dsp:nvSpPr>
      <dsp:spPr>
        <a:xfrm>
          <a:off x="1245250" y="473343"/>
          <a:ext cx="3775129" cy="3775129"/>
        </a:xfrm>
        <a:custGeom>
          <a:avLst/>
          <a:gdLst/>
          <a:ahLst/>
          <a:cxnLst/>
          <a:rect l="0" t="0" r="0" b="0"/>
          <a:pathLst>
            <a:path>
              <a:moveTo>
                <a:pt x="641989" y="469310"/>
              </a:moveTo>
              <a:arcTo wR="1887564" hR="1887564" stAng="13722536" swAng="842167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3E39804-A1AF-4E85-8049-907197CF558A}">
      <dsp:nvSpPr>
        <dsp:cNvPr id="0" name=""/>
        <dsp:cNvSpPr/>
      </dsp:nvSpPr>
      <dsp:spPr>
        <a:xfrm>
          <a:off x="0" y="0"/>
          <a:ext cx="1869722" cy="396044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500" kern="1200" dirty="0" smtClean="0"/>
            <a:t>MNOHOOBOROVOST   A VÝVOJ POJMŮ</a:t>
          </a:r>
          <a:endParaRPr lang="cs-CZ" sz="1500" kern="1200" dirty="0"/>
        </a:p>
      </dsp:txBody>
      <dsp:txXfrm>
        <a:off x="0" y="0"/>
        <a:ext cx="1869722" cy="1188132"/>
      </dsp:txXfrm>
    </dsp:sp>
    <dsp:sp modelId="{E4CB5A89-B8A5-4C06-B3A6-598042C89CBF}">
      <dsp:nvSpPr>
        <dsp:cNvPr id="0" name=""/>
        <dsp:cNvSpPr/>
      </dsp:nvSpPr>
      <dsp:spPr>
        <a:xfrm>
          <a:off x="187691" y="1188470"/>
          <a:ext cx="1495777" cy="77806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400" kern="1200" dirty="0" smtClean="0"/>
            <a:t>Různorodost terminologie</a:t>
          </a:r>
          <a:endParaRPr lang="cs-CZ" sz="1400" kern="1200" dirty="0"/>
        </a:p>
      </dsp:txBody>
      <dsp:txXfrm>
        <a:off x="210480" y="1211259"/>
        <a:ext cx="1450199" cy="732489"/>
      </dsp:txXfrm>
    </dsp:sp>
    <dsp:sp modelId="{F84062E4-C6C5-44FF-9771-46985E9F9D80}">
      <dsp:nvSpPr>
        <dsp:cNvPr id="0" name=""/>
        <dsp:cNvSpPr/>
      </dsp:nvSpPr>
      <dsp:spPr>
        <a:xfrm>
          <a:off x="187691" y="2086241"/>
          <a:ext cx="1495777" cy="77806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400" kern="1200" dirty="0" smtClean="0"/>
            <a:t>Oficiální jazyky Španělska </a:t>
          </a:r>
          <a:endParaRPr lang="cs-CZ" sz="1400" kern="1200" dirty="0"/>
        </a:p>
      </dsp:txBody>
      <dsp:txXfrm>
        <a:off x="210480" y="2109030"/>
        <a:ext cx="1450199" cy="732489"/>
      </dsp:txXfrm>
    </dsp:sp>
    <dsp:sp modelId="{35ADE723-0FF9-423F-ABF9-821C8DC88A96}">
      <dsp:nvSpPr>
        <dsp:cNvPr id="0" name=""/>
        <dsp:cNvSpPr/>
      </dsp:nvSpPr>
      <dsp:spPr>
        <a:xfrm>
          <a:off x="187691" y="2984011"/>
          <a:ext cx="1495777" cy="77806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400" kern="1200" dirty="0" smtClean="0"/>
            <a:t>Geografická různorodost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400" kern="1200" dirty="0" smtClean="0"/>
            <a:t> (LA x ES)</a:t>
          </a:r>
          <a:endParaRPr lang="cs-CZ" sz="1400" kern="1200" dirty="0"/>
        </a:p>
      </dsp:txBody>
      <dsp:txXfrm>
        <a:off x="210480" y="3006800"/>
        <a:ext cx="1450199" cy="732489"/>
      </dsp:txXfrm>
    </dsp:sp>
    <dsp:sp modelId="{C1C7907F-065C-4526-9CCE-A7AD67D491DA}">
      <dsp:nvSpPr>
        <dsp:cNvPr id="0" name=""/>
        <dsp:cNvSpPr/>
      </dsp:nvSpPr>
      <dsp:spPr>
        <a:xfrm>
          <a:off x="1973275" y="0"/>
          <a:ext cx="1869722" cy="396044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500" kern="1200" dirty="0" smtClean="0"/>
            <a:t>OSOBNOST ZADAVATELE</a:t>
          </a:r>
          <a:endParaRPr lang="cs-CZ" sz="1500" kern="1200" dirty="0"/>
        </a:p>
      </dsp:txBody>
      <dsp:txXfrm>
        <a:off x="1973275" y="0"/>
        <a:ext cx="1869722" cy="1188132"/>
      </dsp:txXfrm>
    </dsp:sp>
    <dsp:sp modelId="{63624934-BCFD-42F4-97BC-8EEC73A3EDE7}">
      <dsp:nvSpPr>
        <dsp:cNvPr id="0" name=""/>
        <dsp:cNvSpPr/>
      </dsp:nvSpPr>
      <dsp:spPr>
        <a:xfrm>
          <a:off x="2197642" y="1189292"/>
          <a:ext cx="1495777" cy="119412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400" kern="1200" dirty="0" smtClean="0"/>
            <a:t>Míra zkušenosti</a:t>
          </a:r>
          <a:endParaRPr lang="cs-CZ" sz="1400" kern="1200" dirty="0"/>
        </a:p>
      </dsp:txBody>
      <dsp:txXfrm>
        <a:off x="2232617" y="1224267"/>
        <a:ext cx="1425827" cy="1124176"/>
      </dsp:txXfrm>
    </dsp:sp>
    <dsp:sp modelId="{2C65F4B9-BAAD-422D-A659-81A1ABE999F0}">
      <dsp:nvSpPr>
        <dsp:cNvPr id="0" name=""/>
        <dsp:cNvSpPr/>
      </dsp:nvSpPr>
      <dsp:spPr>
        <a:xfrm>
          <a:off x="2197642" y="2567130"/>
          <a:ext cx="1495777" cy="119412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400" kern="1200" dirty="0" smtClean="0"/>
            <a:t>Osobnost</a:t>
          </a:r>
          <a:endParaRPr lang="cs-CZ" sz="1400" kern="1200" dirty="0"/>
        </a:p>
      </dsp:txBody>
      <dsp:txXfrm>
        <a:off x="2232617" y="2602105"/>
        <a:ext cx="1425827" cy="1124176"/>
      </dsp:txXfrm>
    </dsp:sp>
    <dsp:sp modelId="{62D1D737-4095-401F-904E-931A287E6C36}">
      <dsp:nvSpPr>
        <dsp:cNvPr id="0" name=""/>
        <dsp:cNvSpPr/>
      </dsp:nvSpPr>
      <dsp:spPr>
        <a:xfrm>
          <a:off x="3921713" y="0"/>
          <a:ext cx="1869722" cy="396044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500" kern="1200" dirty="0" smtClean="0"/>
            <a:t>NEZNALOST ZÁKONA NEOMLOUVÁ</a:t>
          </a:r>
          <a:endParaRPr lang="cs-CZ" sz="1500" kern="1200" dirty="0"/>
        </a:p>
      </dsp:txBody>
      <dsp:txXfrm>
        <a:off x="3921713" y="0"/>
        <a:ext cx="1869722" cy="1188132"/>
      </dsp:txXfrm>
    </dsp:sp>
    <dsp:sp modelId="{9E67A2BA-8EC3-4C62-B656-44B034EAC88C}">
      <dsp:nvSpPr>
        <dsp:cNvPr id="0" name=""/>
        <dsp:cNvSpPr/>
      </dsp:nvSpPr>
      <dsp:spPr>
        <a:xfrm>
          <a:off x="4207593" y="1189292"/>
          <a:ext cx="1495777" cy="119412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400" kern="1200" dirty="0" smtClean="0"/>
            <a:t>Sankce</a:t>
          </a:r>
          <a:endParaRPr lang="cs-CZ" sz="1400" kern="1200" dirty="0"/>
        </a:p>
      </dsp:txBody>
      <dsp:txXfrm>
        <a:off x="4242568" y="1224267"/>
        <a:ext cx="1425827" cy="1124176"/>
      </dsp:txXfrm>
    </dsp:sp>
    <dsp:sp modelId="{EF8C3D7A-F268-4083-95D9-E45297F78DD9}">
      <dsp:nvSpPr>
        <dsp:cNvPr id="0" name=""/>
        <dsp:cNvSpPr/>
      </dsp:nvSpPr>
      <dsp:spPr>
        <a:xfrm>
          <a:off x="4207593" y="2567130"/>
          <a:ext cx="1495777" cy="119412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400" kern="1200" dirty="0" smtClean="0"/>
            <a:t>Přezkoumání překladu</a:t>
          </a:r>
          <a:endParaRPr lang="cs-CZ" sz="1400" kern="1200" dirty="0"/>
        </a:p>
      </dsp:txBody>
      <dsp:txXfrm>
        <a:off x="4242568" y="2602105"/>
        <a:ext cx="1425827" cy="112417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1497D9F-1D57-4C47-9FFE-2928845BBC08}">
      <dsp:nvSpPr>
        <dsp:cNvPr id="0" name=""/>
        <dsp:cNvSpPr/>
      </dsp:nvSpPr>
      <dsp:spPr>
        <a:xfrm>
          <a:off x="0" y="0"/>
          <a:ext cx="6096000" cy="478408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000" kern="1200" dirty="0" smtClean="0"/>
            <a:t>VLIV MATEŘSKÉHO JAZYKA NA PŘEKLAD</a:t>
          </a:r>
          <a:endParaRPr lang="cs-CZ" sz="2000" kern="1200" dirty="0"/>
        </a:p>
      </dsp:txBody>
      <dsp:txXfrm>
        <a:off x="0" y="0"/>
        <a:ext cx="6096000" cy="1435224"/>
      </dsp:txXfrm>
    </dsp:sp>
    <dsp:sp modelId="{35ADE723-0FF9-423F-ABF9-821C8DC88A96}">
      <dsp:nvSpPr>
        <dsp:cNvPr id="0" name=""/>
        <dsp:cNvSpPr/>
      </dsp:nvSpPr>
      <dsp:spPr>
        <a:xfrm>
          <a:off x="609600" y="1435224"/>
          <a:ext cx="4876800" cy="31096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800" b="0" i="0" kern="1200" dirty="0" smtClean="0"/>
            <a:t>Nadužívání příslovcí </a:t>
          </a:r>
          <a:r>
            <a:rPr lang="cs-CZ" sz="1800" b="0" i="1" kern="1200" dirty="0" smtClean="0"/>
            <a:t>– </a:t>
          </a:r>
          <a:r>
            <a:rPr lang="cs-CZ" sz="1800" b="0" i="1" kern="1200" dirty="0" err="1" smtClean="0"/>
            <a:t>mente</a:t>
          </a:r>
          <a:r>
            <a:rPr lang="cs-CZ" sz="1800" b="0" i="1" kern="1200" dirty="0" smtClean="0"/>
            <a:t>.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800" b="0" i="0" kern="1200" dirty="0" smtClean="0"/>
            <a:t>Nesprávné použití gerundia.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800" b="0" i="0" kern="1200" dirty="0" smtClean="0"/>
            <a:t>Nesprávný přepis číslovek.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800" b="0" i="0" kern="1200" dirty="0" smtClean="0"/>
            <a:t>Chybný převod měřítek.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800" b="0" i="0" kern="1200" dirty="0" smtClean="0"/>
            <a:t>Neekvivalentní převádění zkratek.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800" b="0" i="0" kern="1200" dirty="0" smtClean="0"/>
            <a:t>Nesprávná syntax.</a:t>
          </a:r>
          <a:endParaRPr lang="cs-CZ" sz="1800" b="0" i="0" kern="1200" dirty="0"/>
        </a:p>
      </dsp:txBody>
      <dsp:txXfrm>
        <a:off x="700679" y="1526303"/>
        <a:ext cx="4694642" cy="29274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8ECD4C-D9C1-4567-A3DF-01C869D7D344}" type="datetimeFigureOut">
              <a:rPr lang="cs-CZ" smtClean="0"/>
              <a:t>19.9.2014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66B384-56FC-40EC-9138-1827C0A6391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657156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0CCA90-5359-406E-8F60-20500B14B5A0}" type="datetimeFigureOut">
              <a:rPr lang="en-US" smtClean="0"/>
              <a:t>9/19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1D4F8D-9D95-4F9C-A649-6F5C5B73B0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6252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7"/>
          <p:cNvSpPr txBox="1">
            <a:spLocks noGrp="1" noChangeArrowheads="1"/>
          </p:cNvSpPr>
          <p:nvPr/>
        </p:nvSpPr>
        <p:spPr bwMode="auto">
          <a:xfrm>
            <a:off x="3852018" y="9428430"/>
            <a:ext cx="2944085" cy="4965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668" tIns="45834" rIns="91668" bIns="45834" anchor="b"/>
          <a:lstStyle/>
          <a:p>
            <a:pPr algn="r" defTabSz="917735" fontAlgn="base">
              <a:spcBef>
                <a:spcPct val="0"/>
              </a:spcBef>
              <a:spcAft>
                <a:spcPct val="0"/>
              </a:spcAft>
            </a:pPr>
            <a:fld id="{B44207A4-A63A-4225-81F7-9F5D89187249}" type="slidenum">
              <a:rPr lang="de-DE" sz="1300">
                <a:solidFill>
                  <a:prstClr val="black"/>
                </a:solidFill>
                <a:latin typeface="Arial" charset="0"/>
                <a:cs typeface="Arial" charset="0"/>
              </a:rPr>
              <a:pPr algn="r" defTabSz="917735"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de-DE" sz="1300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19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4945" y="4903603"/>
            <a:ext cx="5387787" cy="4313260"/>
          </a:xfrm>
          <a:noFill/>
          <a:ln/>
        </p:spPr>
        <p:txBody>
          <a:bodyPr lIns="86895" tIns="43450" rIns="86895" bIns="43450"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1D4F8D-9D95-4F9C-A649-6F5C5B73B0A6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70247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1D4F8D-9D95-4F9C-A649-6F5C5B73B0A6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70247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1D4F8D-9D95-4F9C-A649-6F5C5B73B0A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586698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1D4F8D-9D95-4F9C-A649-6F5C5B73B0A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32320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1D4F8D-9D95-4F9C-A649-6F5C5B73B0A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6994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1D4F8D-9D95-4F9C-A649-6F5C5B73B0A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3844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1D4F8D-9D95-4F9C-A649-6F5C5B73B0A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86171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1D4F8D-9D95-4F9C-A649-6F5C5B73B0A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47722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1D4F8D-9D95-4F9C-A649-6F5C5B73B0A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6610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1D4F8D-9D95-4F9C-A649-6F5C5B73B0A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74537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1D4F8D-9D95-4F9C-A649-6F5C5B73B0A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34892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1D4F8D-9D95-4F9C-A649-6F5C5B73B0A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7810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83BBC-7DE1-4327-A7C2-25A83894DE20}" type="datetimeFigureOut">
              <a:rPr lang="en-US" smtClean="0"/>
              <a:t>9/19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97E462-1849-4563-9C55-C2375F6B8D94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83BBC-7DE1-4327-A7C2-25A83894DE20}" type="datetimeFigureOut">
              <a:rPr lang="en-US" smtClean="0"/>
              <a:t>9/19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97E462-1849-4563-9C55-C2375F6B8D94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83BBC-7DE1-4327-A7C2-25A83894DE20}" type="datetimeFigureOut">
              <a:rPr lang="en-US" smtClean="0"/>
              <a:t>9/19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97E462-1849-4563-9C55-C2375F6B8D94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72" descr="bridge-3"/>
          <p:cNvPicPr>
            <a:picLocks noChangeAspect="1" noChangeArrowheads="1"/>
          </p:cNvPicPr>
          <p:nvPr userDrawn="1"/>
        </p:nvPicPr>
        <p:blipFill>
          <a:blip r:embed="rId3" cstate="print">
            <a:lum bright="30000" contrast="2000"/>
          </a:blip>
          <a:srcRect r="5516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73" descr="127784644,DEADB01E09EDA0DFCD2"/>
          <p:cNvPicPr preferRelativeResize="0">
            <a:picLocks noChangeAspect="1" noChangeArrowheads="1"/>
          </p:cNvPicPr>
          <p:nvPr userDrawn="1"/>
        </p:nvPicPr>
        <p:blipFill>
          <a:blip r:embed="rId4" cstate="print">
            <a:lum bright="8000"/>
          </a:blip>
          <a:srcRect/>
          <a:stretch>
            <a:fillRect/>
          </a:stretch>
        </p:blipFill>
        <p:spPr bwMode="auto">
          <a:xfrm>
            <a:off x="5805488" y="1722438"/>
            <a:ext cx="2936875" cy="3751262"/>
          </a:xfrm>
          <a:prstGeom prst="rect">
            <a:avLst/>
          </a:prstGeom>
          <a:noFill/>
          <a:ln w="9525">
            <a:solidFill>
              <a:srgbClr val="969696"/>
            </a:solidFill>
            <a:miter lim="800000"/>
            <a:headEnd/>
            <a:tailEnd/>
          </a:ln>
        </p:spPr>
      </p:pic>
      <p:grpSp>
        <p:nvGrpSpPr>
          <p:cNvPr id="2" name="Group 5"/>
          <p:cNvGrpSpPr>
            <a:grpSpLocks/>
          </p:cNvGrpSpPr>
          <p:nvPr userDrawn="1"/>
        </p:nvGrpSpPr>
        <p:grpSpPr bwMode="auto">
          <a:xfrm>
            <a:off x="287338" y="260350"/>
            <a:ext cx="8856662" cy="973138"/>
            <a:chOff x="181" y="164"/>
            <a:chExt cx="5579" cy="613"/>
          </a:xfrm>
        </p:grpSpPr>
        <p:sp>
          <p:nvSpPr>
            <p:cNvPr id="7" name="Rectangle 6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81" y="164"/>
              <a:ext cx="5579" cy="613"/>
            </a:xfrm>
            <a:prstGeom prst="rect">
              <a:avLst/>
            </a:prstGeom>
            <a:solidFill>
              <a:srgbClr val="FEFFFF"/>
            </a:solidFill>
            <a:ln w="9525">
              <a:solidFill>
                <a:srgbClr val="91AAAA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000">
                <a:solidFill>
                  <a:srgbClr val="FFFFFF"/>
                </a:solidFill>
                <a:latin typeface="Arial" charset="0"/>
                <a:cs typeface="Arial" charset="0"/>
              </a:endParaRPr>
            </a:p>
          </p:txBody>
        </p:sp>
        <p:pic>
          <p:nvPicPr>
            <p:cNvPr id="8" name="Picture 7" descr="sie_logo_petrol_rgb_2"/>
            <p:cNvPicPr>
              <a:picLocks noChangeAspect="1" noChangeArrowheads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536" y="267"/>
              <a:ext cx="1008" cy="2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652739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539750" y="1420813"/>
            <a:ext cx="8208963" cy="1246187"/>
          </a:xfrm>
        </p:spPr>
        <p:txBody>
          <a:bodyPr anchor="t"/>
          <a:lstStyle>
            <a:lvl1pPr>
              <a:lnSpc>
                <a:spcPts val="4800"/>
              </a:lnSpc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652740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39750" y="2770188"/>
            <a:ext cx="8208963" cy="15113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-Untertitelformat bearbeiten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83BBC-7DE1-4327-A7C2-25A83894DE20}" type="datetimeFigureOut">
              <a:rPr lang="en-US" smtClean="0"/>
              <a:t>9/19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97E462-1849-4563-9C55-C2375F6B8D94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83BBC-7DE1-4327-A7C2-25A83894DE20}" type="datetimeFigureOut">
              <a:rPr lang="en-US" smtClean="0"/>
              <a:t>9/19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97E462-1849-4563-9C55-C2375F6B8D94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83BBC-7DE1-4327-A7C2-25A83894DE20}" type="datetimeFigureOut">
              <a:rPr lang="en-US" smtClean="0"/>
              <a:t>9/19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97E462-1849-4563-9C55-C2375F6B8D94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83BBC-7DE1-4327-A7C2-25A83894DE20}" type="datetimeFigureOut">
              <a:rPr lang="en-US" smtClean="0"/>
              <a:t>9/19/20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97E462-1849-4563-9C55-C2375F6B8D94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83BBC-7DE1-4327-A7C2-25A83894DE20}" type="datetimeFigureOut">
              <a:rPr lang="en-US" smtClean="0"/>
              <a:t>9/19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97E462-1849-4563-9C55-C2375F6B8D94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83BBC-7DE1-4327-A7C2-25A83894DE20}" type="datetimeFigureOut">
              <a:rPr lang="en-US" smtClean="0"/>
              <a:t>9/19/20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97E462-1849-4563-9C55-C2375F6B8D94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83BBC-7DE1-4327-A7C2-25A83894DE20}" type="datetimeFigureOut">
              <a:rPr lang="en-US" smtClean="0"/>
              <a:t>9/19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97E462-1849-4563-9C55-C2375F6B8D94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83BBC-7DE1-4327-A7C2-25A83894DE20}" type="datetimeFigureOut">
              <a:rPr lang="en-US" smtClean="0"/>
              <a:t>9/19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97E462-1849-4563-9C55-C2375F6B8D94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183BBC-7DE1-4327-A7C2-25A83894DE20}" type="datetimeFigureOut">
              <a:rPr lang="en-US" smtClean="0"/>
              <a:t>9/19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97E462-1849-4563-9C55-C2375F6B8D94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50" y="1484313"/>
            <a:ext cx="8208963" cy="4681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14339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539750" y="269875"/>
            <a:ext cx="6140450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itchFamily="34" charset="0"/>
          <a:ea typeface="+mj-ea"/>
          <a:cs typeface="+mj-cs"/>
        </a:defRPr>
      </a:lvl1pPr>
      <a:lvl2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2pPr>
      <a:lvl3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3pPr>
      <a:lvl4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4pPr>
      <a:lvl5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5pPr>
      <a:lvl6pPr marL="457200" algn="l" rtl="0" fontAlgn="base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6pPr>
      <a:lvl7pPr marL="914400" algn="l" rtl="0" fontAlgn="base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7pPr>
      <a:lvl8pPr marL="1371600" algn="l" rtl="0" fontAlgn="base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8pPr>
      <a:lvl9pPr marL="1828800" algn="l" rtl="0" fontAlgn="base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9pPr>
    </p:titleStyle>
    <p:bodyStyle>
      <a:lvl1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buFont typeface="Wingdings" pitchFamily="2" charset="2"/>
        <a:defRPr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190500" indent="-188913"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>
          <a:solidFill>
            <a:schemeClr val="tx1"/>
          </a:solidFill>
          <a:latin typeface="Arial" pitchFamily="34" charset="0"/>
        </a:defRPr>
      </a:lvl2pPr>
      <a:lvl3pPr marL="381000" indent="-188913"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>
          <a:solidFill>
            <a:schemeClr val="tx1"/>
          </a:solidFill>
          <a:latin typeface="Arial" pitchFamily="34" charset="0"/>
        </a:defRPr>
      </a:lvl3pPr>
      <a:lvl4pPr marL="573088" indent="-190500"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>
          <a:solidFill>
            <a:schemeClr val="tx1"/>
          </a:solidFill>
          <a:latin typeface="Arial" pitchFamily="34" charset="0"/>
        </a:defRPr>
      </a:lvl4pPr>
      <a:lvl5pPr marL="763588" indent="-188913"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>
          <a:solidFill>
            <a:schemeClr val="tx1"/>
          </a:solidFill>
          <a:latin typeface="Arial" pitchFamily="34" charset="0"/>
        </a:defRPr>
      </a:lvl5pPr>
      <a:lvl6pPr marL="1220788" indent="-188913" algn="l" rtl="0" fontAlgn="base">
        <a:lnSpc>
          <a:spcPts val="2400"/>
        </a:lnSpc>
        <a:spcBef>
          <a:spcPct val="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6pPr>
      <a:lvl7pPr marL="1677988" indent="-188913" algn="l" rtl="0" fontAlgn="base">
        <a:lnSpc>
          <a:spcPts val="2400"/>
        </a:lnSpc>
        <a:spcBef>
          <a:spcPct val="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7pPr>
      <a:lvl8pPr marL="2135188" indent="-188913" algn="l" rtl="0" fontAlgn="base">
        <a:lnSpc>
          <a:spcPts val="2400"/>
        </a:lnSpc>
        <a:spcBef>
          <a:spcPct val="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8pPr>
      <a:lvl9pPr marL="2592388" indent="-188913" algn="l" rtl="0" fontAlgn="base">
        <a:lnSpc>
          <a:spcPts val="2400"/>
        </a:lnSpc>
        <a:spcBef>
          <a:spcPct val="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z/url?url=http://is.muni.cz/do/rect/el/estud/ff/ps12/platon/web/osnova.html&amp;rct=j&amp;frm=1&amp;q=&amp;esrc=s&amp;sa=U&amp;ei=icGQU5CAB8v04QTxwIHoDA&amp;ved=0CEYQ9QEwEg&amp;usg=AFQjCNFcO3r5oh8HQJlp6U3laLUj3M9vnw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z/url?url=http://is.muni.cz/do/rect/el/estud/ff/ps12/platon/web/osnova.html&amp;rct=j&amp;frm=1&amp;q=&amp;esrc=s&amp;sa=U&amp;ei=icGQU5CAB8v04QTxwIHoDA&amp;ved=0CEYQ9QEwEg&amp;usg=AFQjCNFcO3r5oh8HQJlp6U3laLUj3M9vnw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z/url?url=http://is.muni.cz/do/rect/el/estud/ff/ps12/platon/web/osnova.html&amp;rct=j&amp;frm=1&amp;q=&amp;esrc=s&amp;sa=U&amp;ei=icGQU5CAB8v04QTxwIHoDA&amp;ved=0CEYQ9QEwEg&amp;usg=AFQjCNFcO3r5oh8HQJlp6U3laLUj3M9vnw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z/url?url=http://is.muni.cz/do/rect/el/estud/ff/ps12/platon/web/osnova.html&amp;rct=j&amp;frm=1&amp;q=&amp;esrc=s&amp;sa=U&amp;ei=icGQU5CAB8v04QTxwIHoDA&amp;ved=0CEYQ9QEwEg&amp;usg=AFQjCNFcO3r5oh8HQJlp6U3laLUj3M9vnw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jpeg"/><Relationship Id="rId4" Type="http://schemas.openxmlformats.org/officeDocument/2006/relationships/image" Target="../media/image4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z/url?url=http://is.muni.cz/do/rect/el/estud/ff/ps12/platon/web/osnova.html&amp;rct=j&amp;frm=1&amp;q=&amp;esrc=s&amp;sa=U&amp;ei=icGQU5CAB8v04QTxwIHoDA&amp;ved=0CEYQ9QEwEg&amp;usg=AFQjCNFcO3r5oh8HQJlp6U3laLUj3M9vnw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jpeg"/><Relationship Id="rId5" Type="http://schemas.openxmlformats.org/officeDocument/2006/relationships/hyperlink" Target="https://www.google.cz/url?url=https://play.google.com/store/apps/details?id%3Dorg.softcatala.traductor&amp;rct=j&amp;frm=1&amp;q=&amp;esrc=s&amp;sa=U&amp;ei=scMMVJ6YAoH8ywOg_4DoAQ&amp;ved=0CDwQ9QEwEzjAAg&amp;usg=AFQjCNHp5l2hjWiZzLZlL1f0CG5C7scIRA" TargetMode="External"/><Relationship Id="rId4" Type="http://schemas.openxmlformats.org/officeDocument/2006/relationships/image" Target="../media/image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z/url?url=http://is.muni.cz/do/rect/el/estud/ff/ps12/platon/web/osnova.html&amp;rct=j&amp;frm=1&amp;q=&amp;esrc=s&amp;sa=U&amp;ei=icGQU5CAB8v04QTxwIHoDA&amp;ved=0CEYQ9QEwEg&amp;usg=AFQjCNFcO3r5oh8HQJlp6U3laLUj3M9vnw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hyperlink" Target="http://www.google.cz/url?url=http://is.muni.cz/do/rect/el/estud/ff/ps12/platon/web/osnova.html&amp;rct=j&amp;frm=1&amp;q=&amp;esrc=s&amp;sa=U&amp;ei=icGQU5CAB8v04QTxwIHoDA&amp;ved=0CEYQ9QEwEg&amp;usg=AFQjCNFcO3r5oh8HQJlp6U3laLUj3M9vnw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google.cz/url?url=http://www.calbia-foundation.org/topics/corporate-partners/&amp;rct=j&amp;frm=1&amp;q=&amp;esrc=s&amp;sa=U&amp;ei=V8MMVNuTC-GhyAOwpoLYBA&amp;ved=0CCYQ9QEwCDiYAg&amp;usg=AFQjCNFX9DHy6SX_uEea-xjvHeKFY83MVg" TargetMode="External"/><Relationship Id="rId3" Type="http://schemas.openxmlformats.org/officeDocument/2006/relationships/tags" Target="../tags/tag5.xml"/><Relationship Id="rId7" Type="http://schemas.openxmlformats.org/officeDocument/2006/relationships/image" Target="../media/image4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hyperlink" Target="http://www.google.cz/url?url=http://is.muni.cz/do/rect/el/estud/ff/ps12/platon/web/osnova.html&amp;rct=j&amp;frm=1&amp;q=&amp;esrc=s&amp;sa=U&amp;ei=icGQU5CAB8v04QTxwIHoDA&amp;ved=0CEYQ9QEwEg&amp;usg=AFQjCNFcO3r5oh8HQJlp6U3laLUj3M9vnw" TargetMode="External"/><Relationship Id="rId11" Type="http://schemas.openxmlformats.org/officeDocument/2006/relationships/image" Target="../media/image7.jpeg"/><Relationship Id="rId5" Type="http://schemas.openxmlformats.org/officeDocument/2006/relationships/notesSlide" Target="../notesSlides/notesSlide4.xml"/><Relationship Id="rId10" Type="http://schemas.openxmlformats.org/officeDocument/2006/relationships/hyperlink" Target="http://www.google.cz/url?url=http://tinglebytes.com/2014/05/10-best-word-translation-apps-android-devices-free/&amp;rct=j&amp;frm=1&amp;q=&amp;esrc=s&amp;sa=U&amp;ei=AcIMVOeoKseBywPp_4CQAQ&amp;ved=0CBYQ9QEwADi0AQ&amp;usg=AFQjCNHH3o222RjH4u-dd1oQpYlytHffUg" TargetMode="Externa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notesSlide" Target="../notesSlides/notesSlide5.xml"/><Relationship Id="rId7" Type="http://schemas.openxmlformats.org/officeDocument/2006/relationships/hyperlink" Target="http://www.google.cz/url?url=http://tecnopsi.com/trucos-google-traductor/&amp;rct=j&amp;frm=1&amp;q=&amp;esrc=s&amp;sa=U&amp;ei=ucAMVJjdKOLmyQOorYDIDA&amp;ved=0CDYQ9QEwEDhk&amp;usg=AFQjCNHQJLyUCbV_s_e6uTaiU37KSLo5GQ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8.png"/><Relationship Id="rId5" Type="http://schemas.openxmlformats.org/officeDocument/2006/relationships/image" Target="../media/image4.jpeg"/><Relationship Id="rId4" Type="http://schemas.openxmlformats.org/officeDocument/2006/relationships/hyperlink" Target="http://www.google.cz/url?url=http://is.muni.cz/do/rect/el/estud/ff/ps12/platon/web/osnova.html&amp;rct=j&amp;frm=1&amp;q=&amp;esrc=s&amp;sa=U&amp;ei=icGQU5CAB8v04QTxwIHoDA&amp;ved=0CEYQ9QEwEg&amp;usg=AFQjCNFcO3r5oh8HQJlp6U3laLUj3M9vnw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hyperlink" Target="http://www.google.cz/url?url=http://is.muni.cz/do/rect/el/estud/ff/ps12/platon/web/osnova.html&amp;rct=j&amp;frm=1&amp;q=&amp;esrc=s&amp;sa=U&amp;ei=icGQU5CAB8v04QTxwIHoDA&amp;ved=0CEYQ9QEwEg&amp;usg=AFQjCNFcO3r5oh8HQJlp6U3laLUj3M9vnw" TargetMode="External"/><Relationship Id="rId7" Type="http://schemas.openxmlformats.org/officeDocument/2006/relationships/diagramQuickStyle" Target="../diagrams/quickStyle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diagramLayout" Target="../diagrams/layout1.xml"/><Relationship Id="rId11" Type="http://schemas.openxmlformats.org/officeDocument/2006/relationships/image" Target="../media/image10.jpeg"/><Relationship Id="rId5" Type="http://schemas.openxmlformats.org/officeDocument/2006/relationships/diagramData" Target="../diagrams/data1.xml"/><Relationship Id="rId10" Type="http://schemas.openxmlformats.org/officeDocument/2006/relationships/hyperlink" Target="http://www.google.cz/url?url=http://communica.co.cr/translation-services/what-makes-a-good-english-spanish-translator/&amp;rct=j&amp;frm=1&amp;q=&amp;esrc=s&amp;sa=U&amp;ei=hMIMVJWIK4TuyQOayIE4&amp;ved=0CDYQ9QEwEDjcAQ&amp;usg=AFQjCNFSzinugPRfu5BtFFpffC0_UzUeaw" TargetMode="External"/><Relationship Id="rId4" Type="http://schemas.openxmlformats.org/officeDocument/2006/relationships/image" Target="../media/image4.jpeg"/><Relationship Id="rId9" Type="http://schemas.microsoft.com/office/2007/relationships/diagramDrawing" Target="../diagrams/drawing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hyperlink" Target="http://www.google.cz/url?url=http://is.muni.cz/do/rect/el/estud/ff/ps12/platon/web/osnova.html&amp;rct=j&amp;frm=1&amp;q=&amp;esrc=s&amp;sa=U&amp;ei=icGQU5CAB8v04QTxwIHoDA&amp;ved=0CEYQ9QEwEg&amp;usg=AFQjCNFcO3r5oh8HQJlp6U3laLUj3M9vnw" TargetMode="External"/><Relationship Id="rId7" Type="http://schemas.openxmlformats.org/officeDocument/2006/relationships/diagramQuickStyle" Target="../diagrams/quickStyle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4" Type="http://schemas.openxmlformats.org/officeDocument/2006/relationships/image" Target="../media/image4.jpeg"/><Relationship Id="rId9" Type="http://schemas.microsoft.com/office/2007/relationships/diagramDrawing" Target="../diagrams/drawing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3" Type="http://schemas.openxmlformats.org/officeDocument/2006/relationships/hyperlink" Target="http://www.google.cz/url?url=http://is.muni.cz/do/rect/el/estud/ff/ps12/platon/web/osnova.html&amp;rct=j&amp;frm=1&amp;q=&amp;esrc=s&amp;sa=U&amp;ei=icGQU5CAB8v04QTxwIHoDA&amp;ved=0CEYQ9QEwEg&amp;usg=AFQjCNFcO3r5oh8HQJlp6U3laLUj3M9vnw" TargetMode="External"/><Relationship Id="rId7" Type="http://schemas.openxmlformats.org/officeDocument/2006/relationships/diagramQuickStyle" Target="../diagrams/quickStyle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diagramLayout" Target="../diagrams/layout3.xml"/><Relationship Id="rId11" Type="http://schemas.openxmlformats.org/officeDocument/2006/relationships/image" Target="../media/image11.jpeg"/><Relationship Id="rId5" Type="http://schemas.openxmlformats.org/officeDocument/2006/relationships/diagramData" Target="../diagrams/data3.xml"/><Relationship Id="rId10" Type="http://schemas.openxmlformats.org/officeDocument/2006/relationships/hyperlink" Target="http://www.google.cz/url?url=http://avanceintermitente.com/2013/09/24/los-peligros-de-usar-el-traductor-de-google/&amp;rct=j&amp;frm=1&amp;q=&amp;esrc=s&amp;sa=U&amp;ei=AcIMVOeoKseBywPp_4CQAQ&amp;ved=0CB4Q9QEwBDi0AQ&amp;usg=AFQjCNEZ3UcL5skaclL4NMLZ53zQe-RJag" TargetMode="External"/><Relationship Id="rId4" Type="http://schemas.openxmlformats.org/officeDocument/2006/relationships/image" Target="../media/image4.jpeg"/><Relationship Id="rId9" Type="http://schemas.microsoft.com/office/2007/relationships/diagramDrawing" Target="../diagrams/drawing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4.xml"/><Relationship Id="rId3" Type="http://schemas.openxmlformats.org/officeDocument/2006/relationships/hyperlink" Target="http://www.google.cz/url?url=http://is.muni.cz/do/rect/el/estud/ff/ps12/platon/web/osnova.html&amp;rct=j&amp;frm=1&amp;q=&amp;esrc=s&amp;sa=U&amp;ei=icGQU5CAB8v04QTxwIHoDA&amp;ved=0CEYQ9QEwEg&amp;usg=AFQjCNFcO3r5oh8HQJlp6U3laLUj3M9vnw" TargetMode="External"/><Relationship Id="rId7" Type="http://schemas.openxmlformats.org/officeDocument/2006/relationships/diagramQuickStyle" Target="../diagrams/quickStyle4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diagramLayout" Target="../diagrams/layout4.xml"/><Relationship Id="rId5" Type="http://schemas.openxmlformats.org/officeDocument/2006/relationships/diagramData" Target="../diagrams/data4.xml"/><Relationship Id="rId4" Type="http://schemas.openxmlformats.org/officeDocument/2006/relationships/image" Target="../media/image4.jpeg"/><Relationship Id="rId9" Type="http://schemas.microsoft.com/office/2007/relationships/diagramDrawing" Target="../diagrams/drawin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https://encrypted-tbn2.gstatic.com/images?q=tbn:ANd9GcQAps4Im96K5hsf8W_tRpdKGbrc5eML6Dx7f8d_mSEyEdmRsH_mKXsx0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64288" y="0"/>
            <a:ext cx="1979712" cy="1640297"/>
          </a:xfrm>
          <a:prstGeom prst="rect">
            <a:avLst/>
          </a:prstGeom>
          <a:noFill/>
        </p:spPr>
      </p:pic>
      <p:sp>
        <p:nvSpPr>
          <p:cNvPr id="18433" name="Rectangle 2"/>
          <p:cNvSpPr>
            <a:spLocks noChangeArrowheads="1"/>
          </p:cNvSpPr>
          <p:nvPr/>
        </p:nvSpPr>
        <p:spPr bwMode="auto">
          <a:xfrm>
            <a:off x="554038" y="319088"/>
            <a:ext cx="6126162" cy="823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8434" name="Text Box 4"/>
          <p:cNvSpPr txBox="1">
            <a:spLocks noChangeArrowheads="1"/>
          </p:cNvSpPr>
          <p:nvPr/>
        </p:nvSpPr>
        <p:spPr bwMode="auto">
          <a:xfrm>
            <a:off x="323528" y="1640297"/>
            <a:ext cx="5184576" cy="32008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25000"/>
              </a:spcBef>
              <a:spcAft>
                <a:spcPct val="0"/>
              </a:spcAft>
            </a:pPr>
            <a:r>
              <a:rPr lang="cs-CZ" sz="2400" b="1" i="1" dirty="0" smtClean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haroni" panose="02010803020104030203" pitchFamily="2" charset="-79"/>
              </a:rPr>
              <a:t>PRAKTICKÉ A TECHNICKÉ ASPEKTY </a:t>
            </a:r>
            <a:r>
              <a:rPr lang="cs-CZ" sz="2400" b="1" i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haroni" panose="02010803020104030203" pitchFamily="2" charset="-79"/>
              </a:rPr>
              <a:t>P</a:t>
            </a:r>
            <a:r>
              <a:rPr lang="cs-CZ" sz="2400" b="1" i="1" dirty="0" smtClean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haroni" panose="02010803020104030203" pitchFamily="2" charset="-79"/>
              </a:rPr>
              <a:t>ŘEKLADU</a:t>
            </a:r>
            <a:endParaRPr lang="en-GB" sz="2400" b="1" i="1" dirty="0">
              <a:solidFill>
                <a:srgbClr val="00B0F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haroni" panose="02010803020104030203" pitchFamily="2" charset="-79"/>
            </a:endParaRPr>
          </a:p>
          <a:p>
            <a:pPr fontAlgn="base">
              <a:spcBef>
                <a:spcPct val="25000"/>
              </a:spcBef>
              <a:spcAft>
                <a:spcPct val="0"/>
              </a:spcAft>
            </a:pPr>
            <a:endParaRPr lang="cs-CZ" sz="1400" b="1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fontAlgn="base">
              <a:spcBef>
                <a:spcPct val="25000"/>
              </a:spcBef>
              <a:spcAft>
                <a:spcPct val="0"/>
              </a:spcAft>
            </a:pPr>
            <a:endParaRPr lang="cs-CZ" sz="1400" b="1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fontAlgn="base">
              <a:spcBef>
                <a:spcPct val="25000"/>
              </a:spcBef>
              <a:spcAft>
                <a:spcPct val="0"/>
              </a:spcAft>
            </a:pPr>
            <a:endParaRPr lang="cs-CZ" sz="1400" b="1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fontAlgn="base">
              <a:spcBef>
                <a:spcPct val="25000"/>
              </a:spcBef>
              <a:spcAft>
                <a:spcPct val="0"/>
              </a:spcAft>
            </a:pPr>
            <a:r>
              <a:rPr lang="cs-CZ" sz="14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Mgr</a:t>
            </a:r>
            <a:r>
              <a:rPr lang="cs-CZ" sz="1400" b="1" dirty="0">
                <a:solidFill>
                  <a:srgbClr val="000000"/>
                </a:solidFill>
                <a:latin typeface="Arial" charset="0"/>
                <a:cs typeface="Arial" charset="0"/>
              </a:rPr>
              <a:t>. Veronika </a:t>
            </a:r>
            <a:r>
              <a:rPr lang="cs-CZ" sz="14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de </a:t>
            </a:r>
            <a:r>
              <a:rPr lang="cs-CZ" sz="1400" b="1" dirty="0" err="1" smtClean="0">
                <a:solidFill>
                  <a:srgbClr val="000000"/>
                </a:solidFill>
                <a:latin typeface="Arial" charset="0"/>
                <a:cs typeface="Arial" charset="0"/>
              </a:rPr>
              <a:t>Azevedo</a:t>
            </a:r>
            <a:r>
              <a:rPr lang="cs-CZ" sz="14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</a:t>
            </a:r>
            <a:r>
              <a:rPr lang="cs-CZ" sz="1400" b="1" dirty="0" err="1" smtClean="0">
                <a:solidFill>
                  <a:srgbClr val="000000"/>
                </a:solidFill>
                <a:latin typeface="Arial" charset="0"/>
                <a:cs typeface="Arial" charset="0"/>
              </a:rPr>
              <a:t>Camacho</a:t>
            </a:r>
            <a:r>
              <a:rPr lang="en-GB" sz="1400" b="1" dirty="0">
                <a:solidFill>
                  <a:srgbClr val="000000"/>
                </a:solidFill>
                <a:latin typeface="Arial" charset="0"/>
                <a:cs typeface="Arial" charset="0"/>
              </a:rPr>
              <a:t/>
            </a:r>
            <a:br>
              <a:rPr lang="en-GB" sz="1400" b="1" dirty="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cs-CZ" sz="1400" i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soudní překladatelka, asistentka CJV MU</a:t>
            </a:r>
            <a:endParaRPr lang="cs-CZ" sz="1400" i="1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fontAlgn="base">
              <a:spcBef>
                <a:spcPct val="25000"/>
              </a:spcBef>
              <a:spcAft>
                <a:spcPct val="0"/>
              </a:spcAft>
            </a:pPr>
            <a:endParaRPr lang="cs-CZ" sz="1400" i="1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fontAlgn="base">
              <a:spcBef>
                <a:spcPct val="25000"/>
              </a:spcBef>
              <a:spcAft>
                <a:spcPct val="0"/>
              </a:spcAft>
            </a:pPr>
            <a:endParaRPr lang="sk-SK" sz="1400" i="1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fontAlgn="base">
              <a:spcBef>
                <a:spcPct val="25000"/>
              </a:spcBef>
              <a:spcAft>
                <a:spcPct val="0"/>
              </a:spcAft>
            </a:pPr>
            <a:endParaRPr lang="sk-SK" sz="1400" i="1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fontAlgn="base">
              <a:spcBef>
                <a:spcPct val="25000"/>
              </a:spcBef>
              <a:spcAft>
                <a:spcPct val="0"/>
              </a:spcAft>
            </a:pPr>
            <a:endParaRPr lang="en-GB" sz="1400" i="1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8435" name="Rectangle 4"/>
          <p:cNvSpPr txBox="1">
            <a:spLocks noChangeArrowheads="1"/>
          </p:cNvSpPr>
          <p:nvPr/>
        </p:nvSpPr>
        <p:spPr bwMode="auto">
          <a:xfrm>
            <a:off x="323528" y="333375"/>
            <a:ext cx="6876764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fontAlgn="base">
              <a:lnSpc>
                <a:spcPts val="2400"/>
              </a:lnSpc>
              <a:spcBef>
                <a:spcPct val="0"/>
              </a:spcBef>
              <a:spcAft>
                <a:spcPct val="0"/>
              </a:spcAft>
            </a:pPr>
            <a:r>
              <a:rPr lang="cs-CZ" sz="22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FILOZOFICKÁ FAKULTA  MU </a:t>
            </a:r>
          </a:p>
          <a:p>
            <a:pPr fontAlgn="base">
              <a:lnSpc>
                <a:spcPts val="2400"/>
              </a:lnSpc>
              <a:spcBef>
                <a:spcPct val="0"/>
              </a:spcBef>
              <a:spcAft>
                <a:spcPct val="0"/>
              </a:spcAft>
            </a:pPr>
            <a:r>
              <a:rPr lang="cs-CZ" sz="22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Ústav románských jazyků a literatur</a:t>
            </a:r>
            <a:endParaRPr lang="en-GB" sz="2000" b="1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8436" name="Text Box 4"/>
          <p:cNvSpPr txBox="1">
            <a:spLocks noChangeArrowheads="1"/>
          </p:cNvSpPr>
          <p:nvPr/>
        </p:nvSpPr>
        <p:spPr bwMode="auto">
          <a:xfrm>
            <a:off x="4156673" y="3499882"/>
            <a:ext cx="1582738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25000"/>
              </a:spcBef>
              <a:spcAft>
                <a:spcPct val="0"/>
              </a:spcAft>
            </a:pPr>
            <a:r>
              <a:rPr lang="sk-SK" sz="1400" b="1" i="1" dirty="0" err="1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září</a:t>
            </a:r>
            <a:r>
              <a:rPr lang="sk-SK" sz="1400" b="1" i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 2014</a:t>
            </a:r>
            <a:endParaRPr lang="en-GB" sz="1400" b="1" i="1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 txBox="1">
            <a:spLocks noChangeArrowheads="1"/>
          </p:cNvSpPr>
          <p:nvPr/>
        </p:nvSpPr>
        <p:spPr>
          <a:xfrm>
            <a:off x="539750" y="269875"/>
            <a:ext cx="8604250" cy="8096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  <a:defRPr/>
            </a:pPr>
            <a:r>
              <a:rPr lang="en-US" sz="2400" b="1" dirty="0" err="1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aktick</a:t>
            </a:r>
            <a:r>
              <a:rPr lang="sk-SK" sz="24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é aspekty p</a:t>
            </a:r>
            <a:r>
              <a:rPr lang="cs-CZ" sz="2400" b="1" dirty="0" err="1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řekladu</a:t>
            </a:r>
            <a:endParaRPr lang="en-US" sz="2400" b="1" dirty="0" smtClean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Rectangle 5"/>
          <p:cNvSpPr>
            <a:spLocks noChangeArrowheads="1"/>
          </p:cNvSpPr>
          <p:nvPr/>
        </p:nvSpPr>
        <p:spPr bwMode="auto">
          <a:xfrm>
            <a:off x="539750" y="1196754"/>
            <a:ext cx="503238" cy="466042"/>
          </a:xfrm>
          <a:prstGeom prst="rect">
            <a:avLst/>
          </a:prstGeom>
          <a:solidFill>
            <a:srgbClr val="FF660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cs-CZ" sz="2400" b="1" kern="0" dirty="0">
                <a:solidFill>
                  <a:srgbClr val="CAD6DA"/>
                </a:solidFill>
              </a:rPr>
              <a:t>4</a:t>
            </a:r>
            <a:endParaRPr lang="en-US" sz="2400" b="1" kern="0" dirty="0" smtClean="0">
              <a:solidFill>
                <a:srgbClr val="CAD6DA"/>
              </a:solidFill>
            </a:endParaRPr>
          </a:p>
        </p:txBody>
      </p:sp>
      <p:sp>
        <p:nvSpPr>
          <p:cNvPr id="18" name="Rectangle 6"/>
          <p:cNvSpPr>
            <a:spLocks noChangeArrowheads="1"/>
          </p:cNvSpPr>
          <p:nvPr/>
        </p:nvSpPr>
        <p:spPr bwMode="auto">
          <a:xfrm>
            <a:off x="1258887" y="1196754"/>
            <a:ext cx="7489825" cy="46604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08000" tIns="0" rIns="10800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5829300" algn="l"/>
              </a:tabLst>
            </a:pPr>
            <a:r>
              <a:rPr lang="cs-CZ" sz="14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říklady z praxe</a:t>
            </a:r>
            <a:r>
              <a:rPr lang="de-DE" sz="14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sz="1400" b="1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5" name="Picture 2" descr="https://encrypted-tbn2.gstatic.com/images?q=tbn:ANd9GcQAps4Im96K5hsf8W_tRpdKGbrc5eML6Dx7f8d_mSEyEdmRsH_mKXsx0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740352" y="1"/>
            <a:ext cx="1403647" cy="1196752"/>
          </a:xfrm>
          <a:prstGeom prst="rect">
            <a:avLst/>
          </a:prstGeom>
          <a:noFill/>
        </p:spPr>
      </p:pic>
      <p:sp>
        <p:nvSpPr>
          <p:cNvPr id="7" name="Obdélník 6"/>
          <p:cNvSpPr/>
          <p:nvPr/>
        </p:nvSpPr>
        <p:spPr>
          <a:xfrm>
            <a:off x="1255220" y="1855674"/>
            <a:ext cx="7489825" cy="591532"/>
          </a:xfrm>
          <a:prstGeom prst="rect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8" name="Skupina 7"/>
          <p:cNvGrpSpPr/>
          <p:nvPr/>
        </p:nvGrpSpPr>
        <p:grpSpPr>
          <a:xfrm>
            <a:off x="1560021" y="1960333"/>
            <a:ext cx="5242878" cy="541165"/>
            <a:chOff x="304800" y="113369"/>
            <a:chExt cx="4267200" cy="541165"/>
          </a:xfrm>
        </p:grpSpPr>
        <p:sp>
          <p:nvSpPr>
            <p:cNvPr id="9" name="Zaoblený obdélník 8"/>
            <p:cNvSpPr/>
            <p:nvPr/>
          </p:nvSpPr>
          <p:spPr>
            <a:xfrm>
              <a:off x="304800" y="113369"/>
              <a:ext cx="4267200" cy="541165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Zaoblený obdélník 5"/>
            <p:cNvSpPr/>
            <p:nvPr/>
          </p:nvSpPr>
          <p:spPr>
            <a:xfrm>
              <a:off x="331217" y="139786"/>
              <a:ext cx="4214366" cy="48833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61290" tIns="0" rIns="161290" bIns="0" numCol="1" spcCol="1270" anchor="ctr" anchorCtr="0">
              <a:noAutofit/>
            </a:bodyPr>
            <a:lstStyle/>
            <a:p>
              <a:pPr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cs-CZ" dirty="0" smtClean="0">
                  <a:solidFill>
                    <a:prstClr val="white"/>
                  </a:solidFill>
                </a:rPr>
                <a:t>Příloha č. 1: diplomy </a:t>
              </a:r>
              <a:endParaRPr lang="cs-CZ" dirty="0">
                <a:solidFill>
                  <a:prstClr val="white"/>
                </a:solidFill>
              </a:endParaRPr>
            </a:p>
          </p:txBody>
        </p:sp>
      </p:grpSp>
      <p:sp>
        <p:nvSpPr>
          <p:cNvPr id="11" name="Obdélník 10"/>
          <p:cNvSpPr/>
          <p:nvPr/>
        </p:nvSpPr>
        <p:spPr>
          <a:xfrm>
            <a:off x="1255220" y="2606712"/>
            <a:ext cx="7489825" cy="591532"/>
          </a:xfrm>
          <a:prstGeom prst="rect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2" name="Skupina 11"/>
          <p:cNvGrpSpPr/>
          <p:nvPr/>
        </p:nvGrpSpPr>
        <p:grpSpPr>
          <a:xfrm>
            <a:off x="1560021" y="2711371"/>
            <a:ext cx="5242878" cy="541165"/>
            <a:chOff x="304800" y="113369"/>
            <a:chExt cx="4267200" cy="541165"/>
          </a:xfrm>
        </p:grpSpPr>
        <p:sp>
          <p:nvSpPr>
            <p:cNvPr id="13" name="Zaoblený obdélník 12"/>
            <p:cNvSpPr/>
            <p:nvPr/>
          </p:nvSpPr>
          <p:spPr>
            <a:xfrm>
              <a:off x="304800" y="113369"/>
              <a:ext cx="4267200" cy="541165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Zaoblený obdélník 5"/>
            <p:cNvSpPr/>
            <p:nvPr/>
          </p:nvSpPr>
          <p:spPr>
            <a:xfrm>
              <a:off x="331217" y="139786"/>
              <a:ext cx="4214366" cy="48833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61290" tIns="0" rIns="161290" bIns="0" numCol="1" spcCol="1270" anchor="ctr" anchorCtr="0">
              <a:noAutofit/>
            </a:bodyPr>
            <a:lstStyle/>
            <a:p>
              <a:pPr lvl="0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cs-CZ" dirty="0"/>
                <a:t>Příloha č. 2: rodný </a:t>
              </a:r>
              <a:r>
                <a:rPr lang="cs-CZ" dirty="0" smtClean="0"/>
                <a:t>list</a:t>
              </a:r>
              <a:r>
                <a:rPr lang="cs-CZ" dirty="0" smtClean="0">
                  <a:solidFill>
                    <a:prstClr val="white"/>
                  </a:solidFill>
                </a:rPr>
                <a:t> </a:t>
              </a:r>
              <a:endParaRPr lang="cs-CZ" dirty="0">
                <a:solidFill>
                  <a:prstClr val="white"/>
                </a:solidFill>
              </a:endParaRPr>
            </a:p>
          </p:txBody>
        </p:sp>
      </p:grpSp>
      <p:sp>
        <p:nvSpPr>
          <p:cNvPr id="15" name="Obdélník 14"/>
          <p:cNvSpPr/>
          <p:nvPr/>
        </p:nvSpPr>
        <p:spPr>
          <a:xfrm>
            <a:off x="1255220" y="3376752"/>
            <a:ext cx="7489825" cy="591532"/>
          </a:xfrm>
          <a:prstGeom prst="rect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6" name="Skupina 15"/>
          <p:cNvGrpSpPr/>
          <p:nvPr/>
        </p:nvGrpSpPr>
        <p:grpSpPr>
          <a:xfrm>
            <a:off x="1560021" y="3481411"/>
            <a:ext cx="5242878" cy="541165"/>
            <a:chOff x="304800" y="113369"/>
            <a:chExt cx="4267200" cy="541165"/>
          </a:xfrm>
        </p:grpSpPr>
        <p:sp>
          <p:nvSpPr>
            <p:cNvPr id="19" name="Zaoblený obdélník 18"/>
            <p:cNvSpPr/>
            <p:nvPr/>
          </p:nvSpPr>
          <p:spPr>
            <a:xfrm>
              <a:off x="304800" y="113369"/>
              <a:ext cx="4267200" cy="541165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Zaoblený obdélník 5"/>
            <p:cNvSpPr/>
            <p:nvPr/>
          </p:nvSpPr>
          <p:spPr>
            <a:xfrm>
              <a:off x="331217" y="139786"/>
              <a:ext cx="4214366" cy="48833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61290" tIns="0" rIns="161290" bIns="0" numCol="1" spcCol="1270" anchor="ctr" anchorCtr="0">
              <a:noAutofit/>
            </a:bodyPr>
            <a:lstStyle/>
            <a:p>
              <a:pPr lvl="0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cs-CZ" dirty="0"/>
                <a:t>Příloha č. 3: lékařská </a:t>
              </a:r>
              <a:r>
                <a:rPr lang="cs-CZ" dirty="0" smtClean="0"/>
                <a:t>zpráva</a:t>
              </a:r>
              <a:r>
                <a:rPr lang="cs-CZ" dirty="0" smtClean="0">
                  <a:solidFill>
                    <a:prstClr val="white"/>
                  </a:solidFill>
                </a:rPr>
                <a:t> </a:t>
              </a:r>
              <a:endParaRPr lang="cs-CZ" dirty="0">
                <a:solidFill>
                  <a:prstClr val="white"/>
                </a:solidFill>
              </a:endParaRPr>
            </a:p>
          </p:txBody>
        </p:sp>
      </p:grpSp>
      <p:sp>
        <p:nvSpPr>
          <p:cNvPr id="21" name="Obdélník 20"/>
          <p:cNvSpPr/>
          <p:nvPr/>
        </p:nvSpPr>
        <p:spPr>
          <a:xfrm>
            <a:off x="1271850" y="4176051"/>
            <a:ext cx="7489825" cy="591532"/>
          </a:xfrm>
          <a:prstGeom prst="rect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22" name="Skupina 21"/>
          <p:cNvGrpSpPr/>
          <p:nvPr/>
        </p:nvGrpSpPr>
        <p:grpSpPr>
          <a:xfrm>
            <a:off x="1576651" y="4280710"/>
            <a:ext cx="5242878" cy="541165"/>
            <a:chOff x="304800" y="113369"/>
            <a:chExt cx="4267200" cy="541165"/>
          </a:xfrm>
        </p:grpSpPr>
        <p:sp>
          <p:nvSpPr>
            <p:cNvPr id="23" name="Zaoblený obdélník 22"/>
            <p:cNvSpPr/>
            <p:nvPr/>
          </p:nvSpPr>
          <p:spPr>
            <a:xfrm>
              <a:off x="304800" y="113369"/>
              <a:ext cx="4267200" cy="541165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Zaoblený obdélník 5"/>
            <p:cNvSpPr/>
            <p:nvPr/>
          </p:nvSpPr>
          <p:spPr>
            <a:xfrm>
              <a:off x="331217" y="139786"/>
              <a:ext cx="4214366" cy="48833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61290" tIns="0" rIns="161290" bIns="0" numCol="1" spcCol="1270" anchor="ctr" anchorCtr="0">
              <a:noAutofit/>
            </a:bodyPr>
            <a:lstStyle/>
            <a:p>
              <a:pPr lvl="0"/>
              <a:r>
                <a:rPr lang="cs-CZ" dirty="0"/>
                <a:t>Příloha č. 4:  rozsudek</a:t>
              </a:r>
            </a:p>
          </p:txBody>
        </p:sp>
      </p:grpSp>
      <p:sp>
        <p:nvSpPr>
          <p:cNvPr id="26" name="Obdélník 25"/>
          <p:cNvSpPr/>
          <p:nvPr/>
        </p:nvSpPr>
        <p:spPr>
          <a:xfrm>
            <a:off x="1255220" y="5003491"/>
            <a:ext cx="7489825" cy="591532"/>
          </a:xfrm>
          <a:prstGeom prst="rect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27" name="Skupina 26"/>
          <p:cNvGrpSpPr/>
          <p:nvPr/>
        </p:nvGrpSpPr>
        <p:grpSpPr>
          <a:xfrm>
            <a:off x="1560021" y="5108150"/>
            <a:ext cx="5242878" cy="541165"/>
            <a:chOff x="304800" y="113369"/>
            <a:chExt cx="4267200" cy="541165"/>
          </a:xfrm>
        </p:grpSpPr>
        <p:sp>
          <p:nvSpPr>
            <p:cNvPr id="28" name="Zaoblený obdélník 27"/>
            <p:cNvSpPr/>
            <p:nvPr/>
          </p:nvSpPr>
          <p:spPr>
            <a:xfrm>
              <a:off x="304800" y="113369"/>
              <a:ext cx="4267200" cy="541165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Zaoblený obdélník 5"/>
            <p:cNvSpPr/>
            <p:nvPr/>
          </p:nvSpPr>
          <p:spPr>
            <a:xfrm>
              <a:off x="331217" y="139786"/>
              <a:ext cx="4214366" cy="48833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61290" tIns="0" rIns="161290" bIns="0" numCol="1" spcCol="1270" anchor="ctr" anchorCtr="0">
              <a:noAutofit/>
            </a:bodyPr>
            <a:lstStyle/>
            <a:p>
              <a:pPr lvl="0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cs-CZ" dirty="0"/>
                <a:t>Příloha č. 5: daňový dokument </a:t>
              </a:r>
              <a:r>
                <a:rPr lang="cs-CZ" dirty="0" smtClean="0">
                  <a:solidFill>
                    <a:prstClr val="white"/>
                  </a:solidFill>
                </a:rPr>
                <a:t> </a:t>
              </a:r>
              <a:endParaRPr lang="cs-CZ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62315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 txBox="1">
            <a:spLocks noChangeArrowheads="1"/>
          </p:cNvSpPr>
          <p:nvPr/>
        </p:nvSpPr>
        <p:spPr>
          <a:xfrm>
            <a:off x="539750" y="269875"/>
            <a:ext cx="8604250" cy="8096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  <a:defRPr/>
            </a:pPr>
            <a:r>
              <a:rPr lang="en-US" sz="2400" b="1" dirty="0" err="1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aktick</a:t>
            </a:r>
            <a:r>
              <a:rPr lang="sk-SK" sz="24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é aspekty p</a:t>
            </a:r>
            <a:r>
              <a:rPr lang="cs-CZ" sz="2400" b="1" dirty="0" err="1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řekladu</a:t>
            </a:r>
            <a:endParaRPr lang="en-US" sz="2400" b="1" dirty="0" smtClean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Rectangle 5"/>
          <p:cNvSpPr>
            <a:spLocks noChangeArrowheads="1"/>
          </p:cNvSpPr>
          <p:nvPr/>
        </p:nvSpPr>
        <p:spPr bwMode="auto">
          <a:xfrm>
            <a:off x="539750" y="1196754"/>
            <a:ext cx="503238" cy="466042"/>
          </a:xfrm>
          <a:prstGeom prst="rect">
            <a:avLst/>
          </a:prstGeom>
          <a:solidFill>
            <a:srgbClr val="FF660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cs-CZ" sz="2400" b="1" kern="0" dirty="0">
                <a:solidFill>
                  <a:srgbClr val="CAD6DA"/>
                </a:solidFill>
              </a:rPr>
              <a:t>4</a:t>
            </a:r>
            <a:endParaRPr lang="en-US" sz="2400" b="1" kern="0" dirty="0" smtClean="0">
              <a:solidFill>
                <a:srgbClr val="CAD6DA"/>
              </a:solidFill>
            </a:endParaRPr>
          </a:p>
        </p:txBody>
      </p:sp>
      <p:sp>
        <p:nvSpPr>
          <p:cNvPr id="18" name="Rectangle 6"/>
          <p:cNvSpPr>
            <a:spLocks noChangeArrowheads="1"/>
          </p:cNvSpPr>
          <p:nvPr/>
        </p:nvSpPr>
        <p:spPr bwMode="auto">
          <a:xfrm>
            <a:off x="1258887" y="1196754"/>
            <a:ext cx="7489825" cy="46604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08000" tIns="0" rIns="10800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5829300" algn="l"/>
              </a:tabLst>
            </a:pPr>
            <a:r>
              <a:rPr lang="cs-CZ" sz="14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říklady z praxe</a:t>
            </a:r>
            <a:r>
              <a:rPr lang="de-DE" sz="14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sz="1400" b="1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5" name="Picture 2" descr="https://encrypted-tbn2.gstatic.com/images?q=tbn:ANd9GcQAps4Im96K5hsf8W_tRpdKGbrc5eML6Dx7f8d_mSEyEdmRsH_mKXsx0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740352" y="1"/>
            <a:ext cx="1403647" cy="1196752"/>
          </a:xfrm>
          <a:prstGeom prst="rect">
            <a:avLst/>
          </a:prstGeom>
          <a:noFill/>
        </p:spPr>
      </p:pic>
      <p:sp>
        <p:nvSpPr>
          <p:cNvPr id="7" name="Obdélník 6"/>
          <p:cNvSpPr/>
          <p:nvPr/>
        </p:nvSpPr>
        <p:spPr>
          <a:xfrm>
            <a:off x="1255220" y="1923914"/>
            <a:ext cx="7489825" cy="591532"/>
          </a:xfrm>
          <a:prstGeom prst="rect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8" name="Skupina 7"/>
          <p:cNvGrpSpPr/>
          <p:nvPr/>
        </p:nvGrpSpPr>
        <p:grpSpPr>
          <a:xfrm>
            <a:off x="1560021" y="2028573"/>
            <a:ext cx="5242878" cy="541165"/>
            <a:chOff x="304800" y="113369"/>
            <a:chExt cx="4267200" cy="541165"/>
          </a:xfrm>
        </p:grpSpPr>
        <p:sp>
          <p:nvSpPr>
            <p:cNvPr id="9" name="Zaoblený obdélník 8"/>
            <p:cNvSpPr/>
            <p:nvPr/>
          </p:nvSpPr>
          <p:spPr>
            <a:xfrm>
              <a:off x="304800" y="113369"/>
              <a:ext cx="4267200" cy="541165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Zaoblený obdélník 5"/>
            <p:cNvSpPr/>
            <p:nvPr/>
          </p:nvSpPr>
          <p:spPr>
            <a:xfrm>
              <a:off x="331217" y="139786"/>
              <a:ext cx="4214366" cy="48833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61290" tIns="0" rIns="161290" bIns="0" numCol="1" spcCol="1270" anchor="ctr" anchorCtr="0">
              <a:noAutofit/>
            </a:bodyPr>
            <a:lstStyle/>
            <a:p>
              <a:pPr lvl="0"/>
              <a:r>
                <a:rPr lang="cs-CZ" dirty="0"/>
                <a:t>Příloha č. 6: doklad v jiném než oficiálním jazyce </a:t>
              </a:r>
            </a:p>
          </p:txBody>
        </p:sp>
      </p:grpSp>
      <p:sp>
        <p:nvSpPr>
          <p:cNvPr id="11" name="Obdélník 10"/>
          <p:cNvSpPr/>
          <p:nvPr/>
        </p:nvSpPr>
        <p:spPr>
          <a:xfrm>
            <a:off x="1255220" y="2674952"/>
            <a:ext cx="7489825" cy="591532"/>
          </a:xfrm>
          <a:prstGeom prst="rect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2" name="Skupina 11"/>
          <p:cNvGrpSpPr/>
          <p:nvPr/>
        </p:nvGrpSpPr>
        <p:grpSpPr>
          <a:xfrm>
            <a:off x="1560021" y="2779611"/>
            <a:ext cx="5242878" cy="541165"/>
            <a:chOff x="304800" y="113369"/>
            <a:chExt cx="4267200" cy="541165"/>
          </a:xfrm>
        </p:grpSpPr>
        <p:sp>
          <p:nvSpPr>
            <p:cNvPr id="13" name="Zaoblený obdélník 12"/>
            <p:cNvSpPr/>
            <p:nvPr/>
          </p:nvSpPr>
          <p:spPr>
            <a:xfrm>
              <a:off x="304800" y="113369"/>
              <a:ext cx="4267200" cy="541165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Zaoblený obdélník 5"/>
            <p:cNvSpPr/>
            <p:nvPr/>
          </p:nvSpPr>
          <p:spPr>
            <a:xfrm>
              <a:off x="331217" y="139786"/>
              <a:ext cx="4214366" cy="48833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61290" tIns="0" rIns="161290" bIns="0" numCol="1" spcCol="1270" anchor="ctr" anchorCtr="0">
              <a:noAutofit/>
            </a:bodyPr>
            <a:lstStyle/>
            <a:p>
              <a:pPr lvl="0"/>
              <a:r>
                <a:rPr lang="cs-CZ" dirty="0"/>
                <a:t>Příloha č. 7: standardizovaný právní evropský dokument</a:t>
              </a:r>
            </a:p>
          </p:txBody>
        </p:sp>
      </p:grpSp>
      <p:sp>
        <p:nvSpPr>
          <p:cNvPr id="15" name="Obdélník 14"/>
          <p:cNvSpPr/>
          <p:nvPr/>
        </p:nvSpPr>
        <p:spPr>
          <a:xfrm>
            <a:off x="1255220" y="3444992"/>
            <a:ext cx="7489825" cy="591532"/>
          </a:xfrm>
          <a:prstGeom prst="rect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6" name="Skupina 15"/>
          <p:cNvGrpSpPr/>
          <p:nvPr/>
        </p:nvGrpSpPr>
        <p:grpSpPr>
          <a:xfrm>
            <a:off x="1560021" y="3549651"/>
            <a:ext cx="5242878" cy="541165"/>
            <a:chOff x="304800" y="113369"/>
            <a:chExt cx="4267200" cy="541165"/>
          </a:xfrm>
        </p:grpSpPr>
        <p:sp>
          <p:nvSpPr>
            <p:cNvPr id="19" name="Zaoblený obdélník 18"/>
            <p:cNvSpPr/>
            <p:nvPr/>
          </p:nvSpPr>
          <p:spPr>
            <a:xfrm>
              <a:off x="304800" y="113369"/>
              <a:ext cx="4267200" cy="541165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Zaoblený obdélník 5"/>
            <p:cNvSpPr/>
            <p:nvPr/>
          </p:nvSpPr>
          <p:spPr>
            <a:xfrm>
              <a:off x="331217" y="139786"/>
              <a:ext cx="4214366" cy="48833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61290" tIns="0" rIns="161290" bIns="0" numCol="1" spcCol="1270" anchor="ctr" anchorCtr="0">
              <a:noAutofit/>
            </a:bodyPr>
            <a:lstStyle/>
            <a:p>
              <a:pPr lvl="0"/>
              <a:r>
                <a:rPr lang="cs-CZ" dirty="0"/>
                <a:t>Příloha č. 8: dokument se zkratkami a akronymy</a:t>
              </a:r>
            </a:p>
          </p:txBody>
        </p:sp>
      </p:grpSp>
      <p:sp>
        <p:nvSpPr>
          <p:cNvPr id="21" name="Obdélník 20"/>
          <p:cNvSpPr/>
          <p:nvPr/>
        </p:nvSpPr>
        <p:spPr>
          <a:xfrm>
            <a:off x="1271850" y="4244291"/>
            <a:ext cx="7489825" cy="591532"/>
          </a:xfrm>
          <a:prstGeom prst="rect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22" name="Skupina 21"/>
          <p:cNvGrpSpPr/>
          <p:nvPr/>
        </p:nvGrpSpPr>
        <p:grpSpPr>
          <a:xfrm>
            <a:off x="1576651" y="4348950"/>
            <a:ext cx="5242878" cy="541165"/>
            <a:chOff x="304800" y="113369"/>
            <a:chExt cx="4267200" cy="541165"/>
          </a:xfrm>
        </p:grpSpPr>
        <p:sp>
          <p:nvSpPr>
            <p:cNvPr id="23" name="Zaoblený obdélník 22"/>
            <p:cNvSpPr/>
            <p:nvPr/>
          </p:nvSpPr>
          <p:spPr>
            <a:xfrm>
              <a:off x="304800" y="113369"/>
              <a:ext cx="4267200" cy="541165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Zaoblený obdélník 5"/>
            <p:cNvSpPr/>
            <p:nvPr/>
          </p:nvSpPr>
          <p:spPr>
            <a:xfrm>
              <a:off x="331217" y="139786"/>
              <a:ext cx="4214366" cy="48833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61290" tIns="0" rIns="161290" bIns="0" numCol="1" spcCol="1270" anchor="ctr" anchorCtr="0">
              <a:noAutofit/>
            </a:bodyPr>
            <a:lstStyle/>
            <a:p>
              <a:pPr lvl="0"/>
              <a:r>
                <a:rPr lang="cs-CZ" dirty="0"/>
                <a:t>Příloha č. 9:  dokument pro </a:t>
              </a:r>
              <a:r>
                <a:rPr lang="cs-CZ" dirty="0" err="1"/>
                <a:t>teenegery</a:t>
              </a:r>
              <a:endParaRPr lang="cs-CZ" dirty="0"/>
            </a:p>
          </p:txBody>
        </p:sp>
      </p:grpSp>
    </p:spTree>
    <p:extLst>
      <p:ext uri="{BB962C8B-B14F-4D97-AF65-F5344CB8AC3E}">
        <p14:creationId xmlns:p14="http://schemas.microsoft.com/office/powerpoint/2010/main" val="3154075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 txBox="1">
            <a:spLocks noChangeArrowheads="1"/>
          </p:cNvSpPr>
          <p:nvPr/>
        </p:nvSpPr>
        <p:spPr>
          <a:xfrm>
            <a:off x="539750" y="269875"/>
            <a:ext cx="8604250" cy="8096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raktick</a:t>
            </a:r>
            <a:r>
              <a:rPr lang="sk-SK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é aspekty p</a:t>
            </a:r>
            <a:r>
              <a:rPr lang="cs-CZ" sz="2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řekladu</a:t>
            </a:r>
            <a:endParaRPr kumimoji="0" lang="en-US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6" name="Rectangle 3"/>
          <p:cNvSpPr>
            <a:spLocks noChangeArrowheads="1"/>
          </p:cNvSpPr>
          <p:nvPr/>
        </p:nvSpPr>
        <p:spPr bwMode="auto">
          <a:xfrm>
            <a:off x="539750" y="1700808"/>
            <a:ext cx="8208963" cy="181709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08000" tIns="0" rIns="10800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tabLst>
                <a:tab pos="5829300" algn="l"/>
              </a:tabLst>
            </a:pPr>
            <a:r>
              <a:rPr lang="de-DE" sz="1400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EZINÁRODNÍ DEN PŘEKLADATELŮ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tabLst>
                <a:tab pos="5829300" algn="l"/>
              </a:tabLst>
            </a:pPr>
            <a:r>
              <a:rPr lang="cs-CZ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???</a:t>
            </a:r>
            <a:endParaRPr lang="en-US" b="1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5" name="Picture 2" descr="https://encrypted-tbn2.gstatic.com/images?q=tbn:ANd9GcQAps4Im96K5hsf8W_tRpdKGbrc5eML6Dx7f8d_mSEyEdmRsH_mKXsx0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956376" y="116632"/>
            <a:ext cx="1187623" cy="1080119"/>
          </a:xfrm>
          <a:prstGeom prst="rect">
            <a:avLst/>
          </a:prstGeom>
          <a:noFill/>
        </p:spPr>
      </p:pic>
      <p:pic>
        <p:nvPicPr>
          <p:cNvPr id="12" name="Picture 2" descr="D:\6951\Documents\FF Tlumočnictví překlad\images (2)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20" y="3861048"/>
            <a:ext cx="5112567" cy="1885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27320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 txBox="1">
            <a:spLocks noChangeArrowheads="1"/>
          </p:cNvSpPr>
          <p:nvPr/>
        </p:nvSpPr>
        <p:spPr>
          <a:xfrm>
            <a:off x="539750" y="269875"/>
            <a:ext cx="8604250" cy="8096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raktick</a:t>
            </a:r>
            <a:r>
              <a:rPr lang="sk-SK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é aspekty p</a:t>
            </a:r>
            <a:r>
              <a:rPr lang="cs-CZ" sz="2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řekladu</a:t>
            </a:r>
            <a:endParaRPr kumimoji="0" lang="en-US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6" name="Rectangle 3"/>
          <p:cNvSpPr>
            <a:spLocks noChangeArrowheads="1"/>
          </p:cNvSpPr>
          <p:nvPr/>
        </p:nvSpPr>
        <p:spPr bwMode="auto">
          <a:xfrm>
            <a:off x="539750" y="1412776"/>
            <a:ext cx="8208963" cy="210512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08000" tIns="0" rIns="10800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tabLst>
                <a:tab pos="5829300" algn="l"/>
              </a:tabLst>
            </a:pPr>
            <a:r>
              <a:rPr lang="cs-CZ" sz="32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ěkuji Vám za pozornost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5829300" algn="l"/>
              </a:tabLst>
            </a:pPr>
            <a:r>
              <a:rPr lang="de-DE" sz="1400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sz="14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5" name="Picture 2" descr="https://encrypted-tbn2.gstatic.com/images?q=tbn:ANd9GcQAps4Im96K5hsf8W_tRpdKGbrc5eML6Dx7f8d_mSEyEdmRsH_mKXsx0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956376" y="116632"/>
            <a:ext cx="1187623" cy="1080119"/>
          </a:xfrm>
          <a:prstGeom prst="rect">
            <a:avLst/>
          </a:prstGeom>
          <a:noFill/>
        </p:spPr>
      </p:pic>
      <p:pic>
        <p:nvPicPr>
          <p:cNvPr id="12" name="Picture 12" descr="https://encrypted-tbn0.gstatic.com/images?q=tbn:ANd9GcRRIE2CvhfHj5k1PXfJxhdJ2p4NdWXV7mttTK7DcQEWt9QfepyF7OYG_g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27584" y="1802175"/>
            <a:ext cx="942975" cy="94297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390788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 txBox="1">
            <a:spLocks noChangeArrowheads="1"/>
          </p:cNvSpPr>
          <p:nvPr/>
        </p:nvSpPr>
        <p:spPr>
          <a:xfrm>
            <a:off x="539750" y="269875"/>
            <a:ext cx="8604250" cy="8096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raktick</a:t>
            </a:r>
            <a:r>
              <a:rPr lang="sk-SK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é aspekty p</a:t>
            </a:r>
            <a:r>
              <a:rPr lang="cs-CZ" sz="2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řekladu</a:t>
            </a:r>
            <a:endParaRPr kumimoji="0" lang="en-US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5" name="Rectangle 2"/>
          <p:cNvSpPr>
            <a:spLocks noChangeArrowheads="1"/>
          </p:cNvSpPr>
          <p:nvPr/>
        </p:nvSpPr>
        <p:spPr bwMode="auto">
          <a:xfrm>
            <a:off x="539750" y="3162300"/>
            <a:ext cx="503238" cy="355600"/>
          </a:xfrm>
          <a:prstGeom prst="rect">
            <a:avLst/>
          </a:prstGeom>
          <a:solidFill>
            <a:srgbClr val="FF660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smtClean="0">
                <a:ln>
                  <a:noFill/>
                </a:ln>
                <a:solidFill>
                  <a:srgbClr val="CAD6DA"/>
                </a:solidFill>
                <a:effectLst/>
                <a:uLnTx/>
                <a:uFillTx/>
              </a:rPr>
              <a:t>4</a:t>
            </a:r>
          </a:p>
        </p:txBody>
      </p:sp>
      <p:sp>
        <p:nvSpPr>
          <p:cNvPr id="16" name="Rectangle 3"/>
          <p:cNvSpPr>
            <a:spLocks noChangeArrowheads="1"/>
          </p:cNvSpPr>
          <p:nvPr/>
        </p:nvSpPr>
        <p:spPr bwMode="auto">
          <a:xfrm>
            <a:off x="1258888" y="3162300"/>
            <a:ext cx="7489825" cy="3556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08000" tIns="0" rIns="10800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5829300" algn="l"/>
              </a:tabLst>
            </a:pPr>
            <a:r>
              <a:rPr lang="cs-CZ" sz="1400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říklady </a:t>
            </a:r>
            <a:r>
              <a:rPr lang="cs-CZ" sz="14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z </a:t>
            </a:r>
            <a:r>
              <a:rPr lang="cs-CZ" sz="1400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axe.</a:t>
            </a:r>
            <a:r>
              <a:rPr lang="de-DE" sz="1400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sz="14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5"/>
          <p:cNvSpPr>
            <a:spLocks noChangeArrowheads="1"/>
          </p:cNvSpPr>
          <p:nvPr/>
        </p:nvSpPr>
        <p:spPr bwMode="auto">
          <a:xfrm>
            <a:off x="539750" y="1773238"/>
            <a:ext cx="503238" cy="355600"/>
          </a:xfrm>
          <a:prstGeom prst="rect">
            <a:avLst/>
          </a:prstGeom>
          <a:solidFill>
            <a:srgbClr val="FF660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smtClean="0">
                <a:ln>
                  <a:noFill/>
                </a:ln>
                <a:solidFill>
                  <a:srgbClr val="CAD6DA"/>
                </a:solidFill>
                <a:effectLst/>
                <a:uLnTx/>
                <a:uFillTx/>
              </a:rPr>
              <a:t>1</a:t>
            </a:r>
          </a:p>
        </p:txBody>
      </p:sp>
      <p:sp>
        <p:nvSpPr>
          <p:cNvPr id="18" name="Rectangle 6"/>
          <p:cNvSpPr>
            <a:spLocks noChangeArrowheads="1"/>
          </p:cNvSpPr>
          <p:nvPr/>
        </p:nvSpPr>
        <p:spPr bwMode="auto">
          <a:xfrm>
            <a:off x="1258888" y="1773238"/>
            <a:ext cx="7489825" cy="355600"/>
          </a:xfrm>
          <a:prstGeom prst="rect">
            <a:avLst/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08000" tIns="0" rIns="108000" bIns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>
                <a:tab pos="5829300" algn="l"/>
              </a:tabLst>
              <a:defRPr/>
            </a:pPr>
            <a:r>
              <a:rPr lang="cs-CZ" sz="1400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Vymezení pojmu. „Desatero“ poctivého překladatele.</a:t>
            </a:r>
            <a: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7"/>
          <p:cNvSpPr>
            <a:spLocks noChangeArrowheads="1"/>
          </p:cNvSpPr>
          <p:nvPr/>
        </p:nvSpPr>
        <p:spPr bwMode="auto">
          <a:xfrm>
            <a:off x="539750" y="2235200"/>
            <a:ext cx="503238" cy="355600"/>
          </a:xfrm>
          <a:prstGeom prst="rect">
            <a:avLst/>
          </a:prstGeom>
          <a:solidFill>
            <a:srgbClr val="FF660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smtClean="0">
                <a:ln>
                  <a:noFill/>
                </a:ln>
                <a:solidFill>
                  <a:srgbClr val="CAD6DA"/>
                </a:solidFill>
                <a:effectLst/>
                <a:uLnTx/>
                <a:uFillTx/>
              </a:rPr>
              <a:t>2</a:t>
            </a:r>
          </a:p>
        </p:txBody>
      </p:sp>
      <p:sp>
        <p:nvSpPr>
          <p:cNvPr id="20" name="Rectangle 8"/>
          <p:cNvSpPr>
            <a:spLocks noChangeArrowheads="1"/>
          </p:cNvSpPr>
          <p:nvPr/>
        </p:nvSpPr>
        <p:spPr bwMode="auto">
          <a:xfrm>
            <a:off x="1258888" y="2235200"/>
            <a:ext cx="7489825" cy="3556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108000" tIns="0" rIns="10800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5829300" algn="l"/>
              </a:tabLst>
            </a:pPr>
            <a:r>
              <a:rPr lang="cs-CZ" sz="1400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chopnosti, dovednosti a předpoklady.</a:t>
            </a:r>
            <a:endParaRPr lang="en-US" sz="14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9"/>
          <p:cNvSpPr>
            <a:spLocks noChangeArrowheads="1"/>
          </p:cNvSpPr>
          <p:nvPr/>
        </p:nvSpPr>
        <p:spPr bwMode="auto">
          <a:xfrm>
            <a:off x="539750" y="2698750"/>
            <a:ext cx="503238" cy="355600"/>
          </a:xfrm>
          <a:prstGeom prst="rect">
            <a:avLst/>
          </a:prstGeom>
          <a:solidFill>
            <a:srgbClr val="FF660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smtClean="0">
                <a:ln>
                  <a:noFill/>
                </a:ln>
                <a:solidFill>
                  <a:srgbClr val="CAD6DA"/>
                </a:solidFill>
                <a:effectLst/>
                <a:uLnTx/>
                <a:uFillTx/>
              </a:rPr>
              <a:t>3</a:t>
            </a:r>
          </a:p>
        </p:txBody>
      </p:sp>
      <p:sp>
        <p:nvSpPr>
          <p:cNvPr id="22" name="Rectangle 10"/>
          <p:cNvSpPr>
            <a:spLocks noChangeArrowheads="1"/>
          </p:cNvSpPr>
          <p:nvPr/>
        </p:nvSpPr>
        <p:spPr bwMode="auto">
          <a:xfrm>
            <a:off x="1258888" y="2698750"/>
            <a:ext cx="7489825" cy="3556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08000" tIns="0" rIns="108000" bIns="0" anchor="ctr"/>
          <a:lstStyle/>
          <a:p>
            <a:pPr marR="0" lv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>
                <a:tab pos="5829300" algn="l"/>
              </a:tabLst>
              <a:defRPr/>
            </a:pPr>
            <a:r>
              <a:rPr lang="cs-CZ" sz="1400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Úskalí </a:t>
            </a:r>
            <a:r>
              <a:rPr lang="cs-CZ" sz="14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řekladatelské </a:t>
            </a:r>
            <a:r>
              <a:rPr lang="cs-CZ" sz="1400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činnosti. </a:t>
            </a:r>
            <a:endParaRPr lang="en-US" sz="14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5" name="Picture 2" descr="https://encrypted-tbn2.gstatic.com/images?q=tbn:ANd9GcQAps4Im96K5hsf8W_tRpdKGbrc5eML6Dx7f8d_mSEyEdmRsH_mKXsx0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956376" y="116632"/>
            <a:ext cx="1187623" cy="1080119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 txBox="1">
            <a:spLocks noChangeArrowheads="1"/>
          </p:cNvSpPr>
          <p:nvPr/>
        </p:nvSpPr>
        <p:spPr>
          <a:xfrm>
            <a:off x="539750" y="269875"/>
            <a:ext cx="8604250" cy="8096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raktick</a:t>
            </a:r>
            <a:r>
              <a:rPr lang="sk-SK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é aspekty p</a:t>
            </a:r>
            <a:r>
              <a:rPr lang="cs-CZ" sz="2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řekladu</a:t>
            </a:r>
            <a:endParaRPr kumimoji="0" lang="en-US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7" name="Rectangle 5"/>
          <p:cNvSpPr>
            <a:spLocks noChangeArrowheads="1"/>
          </p:cNvSpPr>
          <p:nvPr/>
        </p:nvSpPr>
        <p:spPr bwMode="auto">
          <a:xfrm>
            <a:off x="539750" y="1773238"/>
            <a:ext cx="503238" cy="355600"/>
          </a:xfrm>
          <a:prstGeom prst="rect">
            <a:avLst/>
          </a:prstGeom>
          <a:solidFill>
            <a:srgbClr val="FF660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smtClean="0">
                <a:ln>
                  <a:noFill/>
                </a:ln>
                <a:solidFill>
                  <a:srgbClr val="CAD6DA"/>
                </a:solidFill>
                <a:effectLst/>
                <a:uLnTx/>
                <a:uFillTx/>
              </a:rPr>
              <a:t>1</a:t>
            </a:r>
          </a:p>
        </p:txBody>
      </p:sp>
      <p:sp>
        <p:nvSpPr>
          <p:cNvPr id="18" name="Rectangle 6"/>
          <p:cNvSpPr>
            <a:spLocks noChangeArrowheads="1"/>
          </p:cNvSpPr>
          <p:nvPr/>
        </p:nvSpPr>
        <p:spPr bwMode="auto">
          <a:xfrm>
            <a:off x="1258888" y="1773238"/>
            <a:ext cx="7489825" cy="355600"/>
          </a:xfrm>
          <a:prstGeom prst="rect">
            <a:avLst/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08000" tIns="0" rIns="10800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5829300" algn="l"/>
              </a:tabLst>
            </a:pPr>
            <a:r>
              <a:rPr lang="cs-CZ" sz="14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. Vymezení pojmu I</a:t>
            </a:r>
            <a:r>
              <a:rPr lang="de-DE" sz="14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sz="1400" b="1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5" name="Picture 2" descr="https://encrypted-tbn2.gstatic.com/images?q=tbn:ANd9GcQAps4Im96K5hsf8W_tRpdKGbrc5eML6Dx7f8d_mSEyEdmRsH_mKXsx0g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40352" y="1"/>
            <a:ext cx="1403647" cy="1196752"/>
          </a:xfrm>
          <a:prstGeom prst="rect">
            <a:avLst/>
          </a:prstGeom>
          <a:noFill/>
        </p:spPr>
      </p:pic>
      <p:sp>
        <p:nvSpPr>
          <p:cNvPr id="20" name="Rectangle 5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635896" y="3717032"/>
            <a:ext cx="5112817" cy="1728192"/>
          </a:xfrm>
          <a:prstGeom prst="rect">
            <a:avLst/>
          </a:prstGeom>
          <a:noFill/>
          <a:ln w="9525" algn="ctr">
            <a:solidFill>
              <a:srgbClr val="A0B6C0"/>
            </a:solidFill>
            <a:miter lim="800000"/>
            <a:headEnd/>
            <a:tailEnd/>
          </a:ln>
        </p:spPr>
        <p:txBody>
          <a:bodyPr anchor="ctr"/>
          <a:lstStyle/>
          <a:p>
            <a:pPr marL="179388" marR="0" lvl="1" indent="-1778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40000"/>
              <a:buFont typeface="Wingdings" pitchFamily="2" charset="2"/>
              <a:buNone/>
              <a:tabLst/>
              <a:defRPr/>
            </a:pPr>
            <a:r>
              <a:rPr lang="cs-CZ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PŘEKLADATEL </a:t>
            </a:r>
            <a:r>
              <a:rPr lang="cs-CZ" sz="1400" dirty="0" smtClean="0"/>
              <a:t>– zprostředkuje kulturu a reálie</a:t>
            </a:r>
          </a:p>
          <a:p>
            <a:pPr marL="179388" marR="0" lvl="1" indent="-1778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40000"/>
              <a:buFont typeface="Wingdings" pitchFamily="2" charset="2"/>
              <a:buNone/>
              <a:tabLst/>
              <a:defRPr/>
            </a:pPr>
            <a:r>
              <a:rPr lang="cs-CZ" sz="1400" dirty="0" smtClean="0"/>
              <a:t>↔ pokouší se o interpretaci konceptů a diskurzů s co největší přesností a věrností</a:t>
            </a:r>
          </a:p>
        </p:txBody>
      </p:sp>
      <p:pic>
        <p:nvPicPr>
          <p:cNvPr id="1026" name="Picture 2" descr="D:\6951\Documents\FF Tlumočnictví překlad\images (3)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8889" y="2276873"/>
            <a:ext cx="3582986" cy="1440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276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 txBox="1">
            <a:spLocks noChangeArrowheads="1"/>
          </p:cNvSpPr>
          <p:nvPr/>
        </p:nvSpPr>
        <p:spPr>
          <a:xfrm>
            <a:off x="539750" y="269875"/>
            <a:ext cx="8604250" cy="8096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raktick</a:t>
            </a:r>
            <a:r>
              <a:rPr lang="sk-SK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é aspekty p</a:t>
            </a:r>
            <a:r>
              <a:rPr lang="cs-CZ" sz="2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řekladu</a:t>
            </a:r>
            <a:endParaRPr kumimoji="0" lang="en-US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7" name="Rectangle 5"/>
          <p:cNvSpPr>
            <a:spLocks noChangeArrowheads="1"/>
          </p:cNvSpPr>
          <p:nvPr/>
        </p:nvSpPr>
        <p:spPr bwMode="auto">
          <a:xfrm>
            <a:off x="539750" y="1773238"/>
            <a:ext cx="503238" cy="355600"/>
          </a:xfrm>
          <a:prstGeom prst="rect">
            <a:avLst/>
          </a:prstGeom>
          <a:solidFill>
            <a:srgbClr val="FF660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smtClean="0">
                <a:ln>
                  <a:noFill/>
                </a:ln>
                <a:solidFill>
                  <a:srgbClr val="CAD6DA"/>
                </a:solidFill>
                <a:effectLst/>
                <a:uLnTx/>
                <a:uFillTx/>
              </a:rPr>
              <a:t>1</a:t>
            </a:r>
          </a:p>
        </p:txBody>
      </p:sp>
      <p:sp>
        <p:nvSpPr>
          <p:cNvPr id="18" name="Rectangle 6"/>
          <p:cNvSpPr>
            <a:spLocks noChangeArrowheads="1"/>
          </p:cNvSpPr>
          <p:nvPr/>
        </p:nvSpPr>
        <p:spPr bwMode="auto">
          <a:xfrm>
            <a:off x="1258888" y="1773238"/>
            <a:ext cx="7489825" cy="355600"/>
          </a:xfrm>
          <a:prstGeom prst="rect">
            <a:avLst/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08000" tIns="0" rIns="10800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5829300" algn="l"/>
              </a:tabLst>
            </a:pPr>
            <a:r>
              <a:rPr lang="cs-CZ" sz="14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. Vymezení pojmu II</a:t>
            </a:r>
            <a:r>
              <a:rPr lang="de-DE" sz="14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sz="1400" b="1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5" name="Picture 2" descr="https://encrypted-tbn2.gstatic.com/images?q=tbn:ANd9GcQAps4Im96K5hsf8W_tRpdKGbrc5eML6Dx7f8d_mSEyEdmRsH_mKXsx0g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740352" y="1"/>
            <a:ext cx="1403647" cy="1196752"/>
          </a:xfrm>
          <a:prstGeom prst="rect">
            <a:avLst/>
          </a:prstGeom>
          <a:noFill/>
        </p:spPr>
      </p:pic>
      <p:sp>
        <p:nvSpPr>
          <p:cNvPr id="36" name="Rectangle 5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635896" y="2348881"/>
            <a:ext cx="5112817" cy="576063"/>
          </a:xfrm>
          <a:prstGeom prst="rect">
            <a:avLst/>
          </a:prstGeom>
          <a:noFill/>
          <a:ln w="9525" algn="ctr">
            <a:solidFill>
              <a:srgbClr val="A0B6C0"/>
            </a:solidFill>
            <a:miter lim="800000"/>
            <a:headEnd/>
            <a:tailEnd/>
          </a:ln>
        </p:spPr>
        <p:txBody>
          <a:bodyPr anchor="ctr"/>
          <a:lstStyle/>
          <a:p>
            <a:pPr marL="179388" marR="0" lvl="1" indent="-1778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40000"/>
              <a:buFont typeface="Wingdings" pitchFamily="2" charset="2"/>
              <a:buNone/>
              <a:tabLst/>
              <a:defRPr/>
            </a:pPr>
            <a:r>
              <a:rPr kumimoji="0" lang="cs-CZ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charset="0"/>
              </a:rPr>
              <a:t>Překlady </a:t>
            </a:r>
            <a:r>
              <a:rPr kumimoji="0" lang="cs-CZ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charset="0"/>
              </a:rPr>
              <a:t>neověřené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charset="0"/>
            </a:endParaRPr>
          </a:p>
          <a:p>
            <a:pPr marL="192088" marR="0" lvl="2" indent="-111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40000"/>
              <a:buFont typeface="Wingdings" pitchFamily="2" charset="2"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10" descr="https://encrypted-tbn2.gstatic.com/images?q=tbn:ANd9GcTd-5uzWDBmU4RjRz4hCoplbolSzyNdFsSWi5zOvaNFvv8i9jdj0148EhZv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310188" y="2388166"/>
            <a:ext cx="1276350" cy="701676"/>
          </a:xfrm>
          <a:prstGeom prst="rect">
            <a:avLst/>
          </a:prstGeom>
          <a:noFill/>
        </p:spPr>
      </p:pic>
      <p:sp>
        <p:nvSpPr>
          <p:cNvPr id="20" name="Rectangle 5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635896" y="3089842"/>
            <a:ext cx="5112817" cy="2355382"/>
          </a:xfrm>
          <a:prstGeom prst="rect">
            <a:avLst/>
          </a:prstGeom>
          <a:noFill/>
          <a:ln w="9525" algn="ctr">
            <a:solidFill>
              <a:srgbClr val="A0B6C0"/>
            </a:solidFill>
            <a:miter lim="800000"/>
            <a:headEnd/>
            <a:tailEnd/>
          </a:ln>
        </p:spPr>
        <p:txBody>
          <a:bodyPr anchor="ctr"/>
          <a:lstStyle/>
          <a:p>
            <a:pPr marL="179388" marR="0" lvl="1" indent="-1778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40000"/>
              <a:buFont typeface="Wingdings" pitchFamily="2" charset="2"/>
              <a:buNone/>
              <a:tabLst/>
              <a:defRPr/>
            </a:pPr>
            <a:r>
              <a:rPr kumimoji="0" lang="cs-CZ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charset="0"/>
              </a:rPr>
              <a:t>Překlady </a:t>
            </a:r>
            <a:r>
              <a:rPr kumimoji="0" lang="cs-CZ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charset="0"/>
              </a:rPr>
              <a:t>soudně ověřené</a:t>
            </a:r>
          </a:p>
          <a:p>
            <a:pPr marL="179388" marR="0" lvl="1" indent="-1778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40000"/>
              <a:buFont typeface="Wingdings" pitchFamily="2" charset="2"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charset="0"/>
            </a:endParaRPr>
          </a:p>
          <a:p>
            <a:pPr marL="192088" lvl="2" indent="-11113">
              <a:buSzPct val="40000"/>
              <a:defRPr/>
            </a:pPr>
            <a:r>
              <a:rPr lang="cs-CZ" sz="1400" i="1" dirty="0"/>
              <a:t>Zákon č. 36/1967 Sb., o znalcích a tlumočnících, ve znění zákonů č. 322/2006 Sb., č. 227/2009 Sb. a </a:t>
            </a:r>
            <a:r>
              <a:rPr lang="cs-CZ" sz="1400" i="1" dirty="0" smtClean="0"/>
              <a:t>č</a:t>
            </a:r>
            <a:r>
              <a:rPr lang="cs-CZ" sz="1400" i="1" dirty="0"/>
              <a:t>. 444/2011 Sb., platný od 1. ledna </a:t>
            </a:r>
            <a:r>
              <a:rPr lang="cs-CZ" sz="1400" i="1" dirty="0" smtClean="0"/>
              <a:t>2012</a:t>
            </a:r>
          </a:p>
          <a:p>
            <a:pPr marL="192088" lvl="2" indent="-11113">
              <a:buSzPct val="40000"/>
              <a:defRPr/>
            </a:pPr>
            <a:endParaRPr lang="cs-CZ" sz="1400" i="1" kern="0" dirty="0">
              <a:solidFill>
                <a:srgbClr val="000000"/>
              </a:solidFill>
            </a:endParaRPr>
          </a:p>
          <a:p>
            <a:pPr marL="192088" lvl="2" indent="-11113">
              <a:buSzPct val="40000"/>
              <a:defRPr/>
            </a:pPr>
            <a:r>
              <a:rPr lang="cs-CZ" sz="1400" i="1" dirty="0" smtClean="0"/>
              <a:t>           •</a:t>
            </a:r>
            <a:r>
              <a:rPr lang="cs-CZ" sz="1400" dirty="0" smtClean="0"/>
              <a:t>povinnost mlčenlivosti i po skončení tlumoč. činnosti</a:t>
            </a:r>
          </a:p>
          <a:p>
            <a:pPr marL="192088" lvl="2" indent="-11113">
              <a:buSzPct val="40000"/>
              <a:defRPr/>
            </a:pPr>
            <a:r>
              <a:rPr lang="cs-CZ" sz="1400" dirty="0"/>
              <a:t> </a:t>
            </a:r>
            <a:r>
              <a:rPr lang="cs-CZ" sz="1400" dirty="0" smtClean="0"/>
              <a:t>          •bezúhonnost</a:t>
            </a:r>
          </a:p>
          <a:p>
            <a:pPr marL="192088" lvl="2" indent="-11113">
              <a:buSzPct val="40000"/>
              <a:defRPr/>
            </a:pPr>
            <a:r>
              <a:rPr lang="cs-CZ" sz="1400" dirty="0" smtClean="0"/>
              <a:t>           •postih do výše 200 000 </a:t>
            </a:r>
            <a:r>
              <a:rPr lang="cs-CZ" sz="1400" dirty="0" err="1" smtClean="0"/>
              <a:t>kč</a:t>
            </a:r>
            <a:endParaRPr lang="cs-CZ" sz="1400" dirty="0" smtClean="0"/>
          </a:p>
          <a:p>
            <a:pPr marL="192088" lvl="2" indent="-11113">
              <a:buSzPct val="40000"/>
              <a:defRPr/>
            </a:pPr>
            <a:r>
              <a:rPr lang="cs-CZ" sz="1400" dirty="0" smtClean="0"/>
              <a:t>           •způsobilost k právním úkonům v plném rozsahu (ruší se    </a:t>
            </a:r>
          </a:p>
          <a:p>
            <a:pPr marL="192088" lvl="2" indent="-11113">
              <a:buSzPct val="40000"/>
              <a:defRPr/>
            </a:pPr>
            <a:r>
              <a:rPr lang="cs-CZ" sz="1400" dirty="0" smtClean="0"/>
              <a:t>              podmínka st. občanství)</a:t>
            </a:r>
          </a:p>
        </p:txBody>
      </p:sp>
      <p:sp>
        <p:nvSpPr>
          <p:cNvPr id="21" name="Rectangle 5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44722" y="5589240"/>
            <a:ext cx="7489825" cy="792088"/>
          </a:xfrm>
          <a:prstGeom prst="rect">
            <a:avLst/>
          </a:prstGeom>
          <a:noFill/>
          <a:ln w="9525" algn="ctr">
            <a:solidFill>
              <a:srgbClr val="A0B6C0"/>
            </a:solidFill>
            <a:miter lim="800000"/>
            <a:headEnd/>
            <a:tailEnd/>
          </a:ln>
        </p:spPr>
        <p:txBody>
          <a:bodyPr anchor="ctr"/>
          <a:lstStyle/>
          <a:p>
            <a:pPr marL="179388" marR="0" lvl="1" indent="-1778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40000"/>
              <a:buFont typeface="Wingdings" pitchFamily="2" charset="2"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charset="0"/>
              </a:rPr>
              <a:t>Zadavatel</a:t>
            </a:r>
            <a:r>
              <a:rPr kumimoji="0" lang="cs-CZ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charset="0"/>
              </a:rPr>
              <a:t>: fyzická osoba, právnická osoba,  veřejnoprávní orgány, Policie ČR, soudní   	orgány, státní zastupitelství</a:t>
            </a:r>
            <a:r>
              <a:rPr kumimoji="0" lang="cs-CZ" sz="14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 charset="0"/>
              </a:rPr>
              <a:t> atd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charset="0"/>
            </a:endParaRPr>
          </a:p>
          <a:p>
            <a:pPr marL="192088" marR="0" lvl="2" indent="-111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40000"/>
              <a:buFont typeface="Wingdings" pitchFamily="2" charset="2"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10" name="Picture 6" descr="https://encrypted-tbn1.gstatic.com/images?q=tbn:ANd9GcThoAmo1957O8BRy3VzuRkM45CzUNXUnY5rGk3GRrESH9CxVID-iQAYDg">
            <a:hlinkClick r:id="rId10"/>
          </p:cNvPr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10187" y="3129253"/>
            <a:ext cx="1168683" cy="947819"/>
          </a:xfrm>
          <a:prstGeom prst="rect">
            <a:avLst/>
          </a:prstGeom>
          <a:noFill/>
        </p:spPr>
      </p:pic>
      <p:sp>
        <p:nvSpPr>
          <p:cNvPr id="3" name="Šipka doprava 2"/>
          <p:cNvSpPr/>
          <p:nvPr/>
        </p:nvSpPr>
        <p:spPr>
          <a:xfrm>
            <a:off x="3722756" y="4603986"/>
            <a:ext cx="489204" cy="19316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 txBox="1">
            <a:spLocks noChangeArrowheads="1"/>
          </p:cNvSpPr>
          <p:nvPr/>
        </p:nvSpPr>
        <p:spPr>
          <a:xfrm>
            <a:off x="539750" y="269875"/>
            <a:ext cx="8604250" cy="8096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raktick</a:t>
            </a:r>
            <a:r>
              <a:rPr lang="sk-SK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é aspekty p</a:t>
            </a:r>
            <a:r>
              <a:rPr lang="cs-CZ" sz="2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řekladu</a:t>
            </a:r>
            <a:endParaRPr kumimoji="0" lang="en-US" sz="28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7" name="Rectangle 5"/>
          <p:cNvSpPr>
            <a:spLocks noChangeArrowheads="1"/>
          </p:cNvSpPr>
          <p:nvPr/>
        </p:nvSpPr>
        <p:spPr bwMode="auto">
          <a:xfrm>
            <a:off x="539750" y="1773238"/>
            <a:ext cx="503238" cy="355600"/>
          </a:xfrm>
          <a:prstGeom prst="rect">
            <a:avLst/>
          </a:prstGeom>
          <a:solidFill>
            <a:srgbClr val="FF660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smtClean="0">
                <a:ln>
                  <a:noFill/>
                </a:ln>
                <a:solidFill>
                  <a:srgbClr val="CAD6DA"/>
                </a:solidFill>
                <a:effectLst/>
                <a:uLnTx/>
                <a:uFillTx/>
              </a:rPr>
              <a:t>1</a:t>
            </a:r>
          </a:p>
        </p:txBody>
      </p:sp>
      <p:sp>
        <p:nvSpPr>
          <p:cNvPr id="18" name="Rectangle 6"/>
          <p:cNvSpPr>
            <a:spLocks noChangeArrowheads="1"/>
          </p:cNvSpPr>
          <p:nvPr/>
        </p:nvSpPr>
        <p:spPr bwMode="auto">
          <a:xfrm>
            <a:off x="1258888" y="1773238"/>
            <a:ext cx="7489825" cy="355600"/>
          </a:xfrm>
          <a:prstGeom prst="rect">
            <a:avLst/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08000" tIns="0" rIns="10800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5829300" algn="l"/>
              </a:tabLst>
            </a:pPr>
            <a:r>
              <a:rPr lang="cs-CZ" sz="14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. Desatero poctivého překladatele.</a:t>
            </a:r>
            <a:r>
              <a:rPr lang="de-DE" sz="14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sz="1400" b="1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5" name="Picture 2" descr="https://encrypted-tbn2.gstatic.com/images?q=tbn:ANd9GcQAps4Im96K5hsf8W_tRpdKGbrc5eML6Dx7f8d_mSEyEdmRsH_mKXsx0g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40352" y="1"/>
            <a:ext cx="1403647" cy="1196752"/>
          </a:xfrm>
          <a:prstGeom prst="rect">
            <a:avLst/>
          </a:prstGeom>
          <a:noFill/>
        </p:spPr>
      </p:pic>
      <p:sp>
        <p:nvSpPr>
          <p:cNvPr id="36" name="Rectangle 5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635896" y="2335484"/>
            <a:ext cx="5287441" cy="3673339"/>
          </a:xfrm>
          <a:prstGeom prst="rect">
            <a:avLst/>
          </a:prstGeom>
          <a:noFill/>
          <a:ln w="9525" algn="ctr">
            <a:solidFill>
              <a:srgbClr val="A0B6C0"/>
            </a:solidFill>
            <a:miter lim="800000"/>
            <a:headEnd/>
            <a:tailEnd/>
          </a:ln>
        </p:spPr>
        <p:txBody>
          <a:bodyPr anchor="ctr"/>
          <a:lstStyle/>
          <a:p>
            <a:pPr marL="179388" marR="0" lvl="1" indent="-1778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40000"/>
              <a:buFont typeface="Wingdings" pitchFamily="2" charset="2"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Arial" charset="0"/>
            </a:endParaRPr>
          </a:p>
          <a:p>
            <a:pPr marL="192088" marR="0" lvl="2" indent="-111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40000"/>
              <a:buFont typeface="Wingdings" pitchFamily="2" charset="2"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919470" y="2357253"/>
            <a:ext cx="4976571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kern="0" dirty="0" smtClean="0">
                <a:solidFill>
                  <a:srgbClr val="000000"/>
                </a:solidFill>
              </a:rPr>
              <a:t>Výborná znalost cizího i mateřského jazyka – obecně cit pro jazyk.</a:t>
            </a:r>
            <a:endParaRPr kumimoji="0" lang="cs-CZ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kern="0" dirty="0" smtClean="0">
                <a:solidFill>
                  <a:srgbClr val="000000"/>
                </a:solidFill>
              </a:rPr>
              <a:t>Dobrý všeobecný přehled a dobrá znalost dané oblasti</a:t>
            </a:r>
            <a:r>
              <a:rPr lang="cs-CZ" sz="1200" kern="0" dirty="0">
                <a:solidFill>
                  <a:srgbClr val="000000"/>
                </a:solidFill>
              </a:rPr>
              <a:t> </a:t>
            </a:r>
            <a:r>
              <a:rPr lang="cs-CZ" sz="1200" kern="0" dirty="0" smtClean="0">
                <a:solidFill>
                  <a:srgbClr val="000000"/>
                </a:solidFill>
              </a:rPr>
              <a:t>(kultura, historie,…).</a:t>
            </a:r>
            <a:endParaRPr kumimoji="0" lang="cs-CZ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kern="0" dirty="0" smtClean="0">
                <a:solidFill>
                  <a:srgbClr val="000000"/>
                </a:solidFill>
              </a:rPr>
              <a:t>Zvědavost a zvídavost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200" kern="0" dirty="0">
              <a:solidFill>
                <a:srgbClr val="000000"/>
              </a:solidFill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eustálé sebevzdělávání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>
              <a:defRPr/>
            </a:pPr>
            <a:r>
              <a:rPr lang="cs-CZ" sz="1200" kern="0" dirty="0">
                <a:solidFill>
                  <a:srgbClr val="000000"/>
                </a:solidFill>
              </a:rPr>
              <a:t>Čestnost a slušnost – beru pouze ten překlad, na který stačím</a:t>
            </a:r>
            <a:r>
              <a:rPr lang="cs-CZ" sz="1200" kern="0" dirty="0" smtClean="0">
                <a:solidFill>
                  <a:srgbClr val="000000"/>
                </a:solidFill>
              </a:rPr>
              <a:t>.</a:t>
            </a:r>
          </a:p>
          <a:p>
            <a:pPr>
              <a:defRPr/>
            </a:pPr>
            <a:endParaRPr lang="cs-CZ" sz="1200" kern="0" dirty="0">
              <a:solidFill>
                <a:srgbClr val="000000"/>
              </a:solidFill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octivost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200" kern="0" dirty="0">
              <a:solidFill>
                <a:srgbClr val="000000"/>
              </a:solidFill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estrannost a objektivita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200" kern="0" dirty="0">
              <a:solidFill>
                <a:srgbClr val="000000"/>
              </a:solidFill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kern="0" dirty="0" smtClean="0">
                <a:solidFill>
                  <a:srgbClr val="000000"/>
                </a:solidFill>
              </a:rPr>
              <a:t>Zachování mlčenlivosti.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kern="0" dirty="0" smtClean="0">
                <a:solidFill>
                  <a:srgbClr val="000000"/>
                </a:solidFill>
              </a:rPr>
              <a:t>Pracovat pouze s kvalitními zdroji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200" kern="0" dirty="0" smtClean="0">
              <a:solidFill>
                <a:srgbClr val="000000"/>
              </a:solidFill>
            </a:endParaRPr>
          </a:p>
          <a:p>
            <a:pPr>
              <a:defRPr/>
            </a:pPr>
            <a:r>
              <a:rPr lang="cs-CZ" sz="1200" kern="0" dirty="0">
                <a:solidFill>
                  <a:srgbClr val="000000"/>
                </a:solidFill>
              </a:rPr>
              <a:t>Neprodávat se pod cenou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38" name="Picture 37" descr="OK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638445" y="2388165"/>
            <a:ext cx="281025" cy="274638"/>
          </a:xfrm>
          <a:prstGeom prst="rect">
            <a:avLst/>
          </a:prstGeom>
          <a:noFill/>
        </p:spPr>
      </p:pic>
      <p:pic>
        <p:nvPicPr>
          <p:cNvPr id="39" name="Picture 38" descr="OK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635896" y="2706019"/>
            <a:ext cx="281025" cy="274638"/>
          </a:xfrm>
          <a:prstGeom prst="rect">
            <a:avLst/>
          </a:prstGeom>
          <a:noFill/>
        </p:spPr>
      </p:pic>
      <p:pic>
        <p:nvPicPr>
          <p:cNvPr id="40" name="Picture 39" descr="OK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635896" y="3051169"/>
            <a:ext cx="281025" cy="274638"/>
          </a:xfrm>
          <a:prstGeom prst="rect">
            <a:avLst/>
          </a:prstGeom>
          <a:noFill/>
        </p:spPr>
      </p:pic>
      <p:pic>
        <p:nvPicPr>
          <p:cNvPr id="41" name="Picture 40" descr="OK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647783" y="3452778"/>
            <a:ext cx="281025" cy="274638"/>
          </a:xfrm>
          <a:prstGeom prst="rect">
            <a:avLst/>
          </a:prstGeom>
          <a:noFill/>
        </p:spPr>
      </p:pic>
      <p:pic>
        <p:nvPicPr>
          <p:cNvPr id="45" name="Picture 44" descr="OK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683444" y="4911642"/>
            <a:ext cx="281025" cy="274638"/>
          </a:xfrm>
          <a:prstGeom prst="rect">
            <a:avLst/>
          </a:prstGeom>
          <a:noFill/>
        </p:spPr>
      </p:pic>
      <p:pic>
        <p:nvPicPr>
          <p:cNvPr id="1026" name="Picture 2" descr="https://encrypted-tbn0.gstatic.com/images?q=tbn:ANd9GcSPyatWQrk_B69ibv7BfvAE9OrdPmn9zuvu1wI2Ga0k2-hZJ32BSFYExkg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99592" y="2780928"/>
            <a:ext cx="2412668" cy="2088232"/>
          </a:xfrm>
          <a:prstGeom prst="rect">
            <a:avLst/>
          </a:prstGeom>
          <a:noFill/>
        </p:spPr>
      </p:pic>
      <p:pic>
        <p:nvPicPr>
          <p:cNvPr id="19" name="Picture 44" descr="OK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685218" y="5240872"/>
            <a:ext cx="281025" cy="274638"/>
          </a:xfrm>
          <a:prstGeom prst="rect">
            <a:avLst/>
          </a:prstGeom>
          <a:noFill/>
        </p:spPr>
      </p:pic>
      <p:pic>
        <p:nvPicPr>
          <p:cNvPr id="20" name="Picture 44" descr="OK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671571" y="5638342"/>
            <a:ext cx="281025" cy="274638"/>
          </a:xfrm>
          <a:prstGeom prst="rect">
            <a:avLst/>
          </a:prstGeom>
          <a:noFill/>
        </p:spPr>
      </p:pic>
      <p:pic>
        <p:nvPicPr>
          <p:cNvPr id="21" name="Picture 41" descr="OK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662279" y="3830669"/>
            <a:ext cx="281025" cy="274638"/>
          </a:xfrm>
          <a:prstGeom prst="rect">
            <a:avLst/>
          </a:prstGeom>
          <a:noFill/>
        </p:spPr>
      </p:pic>
      <p:pic>
        <p:nvPicPr>
          <p:cNvPr id="22" name="Picture 42" descr="OK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674166" y="4171108"/>
            <a:ext cx="281025" cy="274638"/>
          </a:xfrm>
          <a:prstGeom prst="rect">
            <a:avLst/>
          </a:prstGeom>
          <a:noFill/>
        </p:spPr>
      </p:pic>
      <p:pic>
        <p:nvPicPr>
          <p:cNvPr id="23" name="Picture 43" descr="OK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686053" y="4499825"/>
            <a:ext cx="281025" cy="27463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865497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3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3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3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3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3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3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37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37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37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37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37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37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 txBox="1">
            <a:spLocks noChangeArrowheads="1"/>
          </p:cNvSpPr>
          <p:nvPr/>
        </p:nvSpPr>
        <p:spPr>
          <a:xfrm>
            <a:off x="539750" y="269875"/>
            <a:ext cx="8604250" cy="8096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raktick</a:t>
            </a:r>
            <a:r>
              <a:rPr lang="sk-SK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é aspekty p</a:t>
            </a:r>
            <a:r>
              <a:rPr lang="cs-CZ" sz="24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řekladu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7" name="Rectangle 5"/>
          <p:cNvSpPr>
            <a:spLocks noChangeArrowheads="1"/>
          </p:cNvSpPr>
          <p:nvPr/>
        </p:nvSpPr>
        <p:spPr bwMode="auto">
          <a:xfrm>
            <a:off x="539750" y="1196754"/>
            <a:ext cx="503238" cy="466042"/>
          </a:xfrm>
          <a:prstGeom prst="rect">
            <a:avLst/>
          </a:prstGeom>
          <a:solidFill>
            <a:srgbClr val="FF660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cs-CZ" sz="2400" b="1" kern="0" dirty="0">
                <a:solidFill>
                  <a:srgbClr val="CAD6DA"/>
                </a:solidFill>
              </a:rPr>
              <a:t>2</a:t>
            </a: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rgbClr val="CAD6DA"/>
              </a:solidFill>
              <a:effectLst/>
              <a:uLnTx/>
              <a:uFillTx/>
            </a:endParaRPr>
          </a:p>
        </p:txBody>
      </p:sp>
      <p:sp>
        <p:nvSpPr>
          <p:cNvPr id="18" name="Rectangle 6"/>
          <p:cNvSpPr>
            <a:spLocks noChangeArrowheads="1"/>
          </p:cNvSpPr>
          <p:nvPr/>
        </p:nvSpPr>
        <p:spPr bwMode="auto">
          <a:xfrm>
            <a:off x="1258888" y="1196754"/>
            <a:ext cx="7489825" cy="46604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08000" tIns="0" rIns="10800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5829300" algn="l"/>
              </a:tabLst>
            </a:pPr>
            <a:r>
              <a:rPr lang="cs-CZ" sz="14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chopnosti a dovednosti – dané x získané.</a:t>
            </a:r>
            <a:r>
              <a:rPr lang="de-DE" sz="14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sz="1400" b="1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5" name="Picture 2" descr="https://encrypted-tbn2.gstatic.com/images?q=tbn:ANd9GcQAps4Im96K5hsf8W_tRpdKGbrc5eML6Dx7f8d_mSEyEdmRsH_mKXsx0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740352" y="1"/>
            <a:ext cx="1403647" cy="1196752"/>
          </a:xfrm>
          <a:prstGeom prst="rect">
            <a:avLst/>
          </a:prstGeom>
          <a:noFill/>
        </p:spPr>
      </p:pic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4049550807"/>
              </p:ext>
            </p:extLst>
          </p:nvPr>
        </p:nvGraphicFramePr>
        <p:xfrm>
          <a:off x="1258888" y="2072513"/>
          <a:ext cx="5184576" cy="39613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9" name="Picture 8" descr="https://encrypted-tbn2.gstatic.com/images?q=tbn:ANd9GcRymhCo5UojkhTJ09l6An2XZtuwrdb2nh5_7XpMBfk0T265dfmeTXJCs38">
            <a:hlinkClick r:id="rId10"/>
          </p:cNvPr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258888" y="1844824"/>
            <a:ext cx="1228725" cy="8191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53316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 txBox="1">
            <a:spLocks noChangeArrowheads="1"/>
          </p:cNvSpPr>
          <p:nvPr/>
        </p:nvSpPr>
        <p:spPr>
          <a:xfrm>
            <a:off x="539750" y="269875"/>
            <a:ext cx="8604250" cy="8096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raktick</a:t>
            </a:r>
            <a:r>
              <a:rPr lang="sk-SK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é aspekty p</a:t>
            </a:r>
            <a:r>
              <a:rPr lang="cs-CZ" sz="24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řekladu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7" name="Rectangle 5"/>
          <p:cNvSpPr>
            <a:spLocks noChangeArrowheads="1"/>
          </p:cNvSpPr>
          <p:nvPr/>
        </p:nvSpPr>
        <p:spPr bwMode="auto">
          <a:xfrm>
            <a:off x="539750" y="1196754"/>
            <a:ext cx="503238" cy="466042"/>
          </a:xfrm>
          <a:prstGeom prst="rect">
            <a:avLst/>
          </a:prstGeom>
          <a:solidFill>
            <a:srgbClr val="FF660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cs-CZ" sz="2400" b="1" kern="0" dirty="0">
                <a:solidFill>
                  <a:srgbClr val="CAD6DA"/>
                </a:solidFill>
              </a:rPr>
              <a:t>2</a:t>
            </a: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rgbClr val="CAD6DA"/>
              </a:solidFill>
              <a:effectLst/>
              <a:uLnTx/>
              <a:uFillTx/>
            </a:endParaRPr>
          </a:p>
        </p:txBody>
      </p:sp>
      <p:sp>
        <p:nvSpPr>
          <p:cNvPr id="18" name="Rectangle 6"/>
          <p:cNvSpPr>
            <a:spLocks noChangeArrowheads="1"/>
          </p:cNvSpPr>
          <p:nvPr/>
        </p:nvSpPr>
        <p:spPr bwMode="auto">
          <a:xfrm>
            <a:off x="1258888" y="1196754"/>
            <a:ext cx="7489825" cy="46604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08000" tIns="0" rIns="10800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5829300" algn="l"/>
              </a:tabLst>
            </a:pPr>
            <a:r>
              <a:rPr lang="cs-CZ" sz="14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chopnosti a dovednosti II – Předpoklady.</a:t>
            </a:r>
            <a:r>
              <a:rPr lang="de-DE" sz="14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sz="1400" b="1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5" name="Picture 2" descr="https://encrypted-tbn2.gstatic.com/images?q=tbn:ANd9GcQAps4Im96K5hsf8W_tRpdKGbrc5eML6Dx7f8d_mSEyEdmRsH_mKXsx0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740352" y="1"/>
            <a:ext cx="1403647" cy="1196752"/>
          </a:xfrm>
          <a:prstGeom prst="rect">
            <a:avLst/>
          </a:prstGeom>
          <a:noFill/>
        </p:spPr>
      </p:pic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701106482"/>
              </p:ext>
            </p:extLst>
          </p:nvPr>
        </p:nvGraphicFramePr>
        <p:xfrm>
          <a:off x="1258888" y="1844824"/>
          <a:ext cx="6096000" cy="44240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3132178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 txBox="1">
            <a:spLocks noChangeArrowheads="1"/>
          </p:cNvSpPr>
          <p:nvPr/>
        </p:nvSpPr>
        <p:spPr>
          <a:xfrm>
            <a:off x="539750" y="269875"/>
            <a:ext cx="8604250" cy="8096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raktick</a:t>
            </a:r>
            <a:r>
              <a:rPr lang="sk-SK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é aspekty p</a:t>
            </a:r>
            <a:r>
              <a:rPr lang="cs-CZ" sz="24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řekladu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7" name="Rectangle 5"/>
          <p:cNvSpPr>
            <a:spLocks noChangeArrowheads="1"/>
          </p:cNvSpPr>
          <p:nvPr/>
        </p:nvSpPr>
        <p:spPr bwMode="auto">
          <a:xfrm>
            <a:off x="539750" y="1196754"/>
            <a:ext cx="503238" cy="466042"/>
          </a:xfrm>
          <a:prstGeom prst="rect">
            <a:avLst/>
          </a:prstGeom>
          <a:solidFill>
            <a:srgbClr val="FF660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cs-CZ" sz="2400" b="1" kern="0" noProof="0" dirty="0">
                <a:solidFill>
                  <a:srgbClr val="CAD6DA"/>
                </a:solidFill>
              </a:rPr>
              <a:t>3</a:t>
            </a: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rgbClr val="CAD6DA"/>
              </a:solidFill>
              <a:effectLst/>
              <a:uLnTx/>
              <a:uFillTx/>
            </a:endParaRPr>
          </a:p>
        </p:txBody>
      </p:sp>
      <p:sp>
        <p:nvSpPr>
          <p:cNvPr id="18" name="Rectangle 6"/>
          <p:cNvSpPr>
            <a:spLocks noChangeArrowheads="1"/>
          </p:cNvSpPr>
          <p:nvPr/>
        </p:nvSpPr>
        <p:spPr bwMode="auto">
          <a:xfrm>
            <a:off x="1258888" y="1196754"/>
            <a:ext cx="7489825" cy="46604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08000" tIns="0" rIns="10800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5829300" algn="l"/>
              </a:tabLst>
            </a:pPr>
            <a:r>
              <a:rPr lang="cs-CZ" sz="14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Úskalí překladatelské činnosti</a:t>
            </a:r>
            <a:r>
              <a:rPr lang="de-DE" sz="14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sz="1400" b="1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5" name="Picture 2" descr="https://encrypted-tbn2.gstatic.com/images?q=tbn:ANd9GcQAps4Im96K5hsf8W_tRpdKGbrc5eML6Dx7f8d_mSEyEdmRsH_mKXsx0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740352" y="1"/>
            <a:ext cx="1403647" cy="1196752"/>
          </a:xfrm>
          <a:prstGeom prst="rect">
            <a:avLst/>
          </a:prstGeom>
          <a:noFill/>
        </p:spPr>
      </p:pic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604245424"/>
              </p:ext>
            </p:extLst>
          </p:nvPr>
        </p:nvGraphicFramePr>
        <p:xfrm>
          <a:off x="2586266" y="2060848"/>
          <a:ext cx="5891063" cy="39604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10" name="Picture 4" descr="https://encrypted-tbn3.gstatic.com/images?q=tbn:ANd9GcSVLs1w17wjgWoPmKAd93IcoX44QqKjH30vchTK8eM5T4xuk34-LVkaRpb-">
            <a:hlinkClick r:id="rId10"/>
          </p:cNvPr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91369" y="2060849"/>
            <a:ext cx="1631968" cy="213878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44512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 txBox="1">
            <a:spLocks noChangeArrowheads="1"/>
          </p:cNvSpPr>
          <p:nvPr/>
        </p:nvSpPr>
        <p:spPr>
          <a:xfrm>
            <a:off x="539750" y="269875"/>
            <a:ext cx="8604250" cy="8096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raktick</a:t>
            </a:r>
            <a:r>
              <a:rPr lang="sk-SK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é aspekty p</a:t>
            </a:r>
            <a:r>
              <a:rPr lang="cs-CZ" sz="24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řekladu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7" name="Rectangle 5"/>
          <p:cNvSpPr>
            <a:spLocks noChangeArrowheads="1"/>
          </p:cNvSpPr>
          <p:nvPr/>
        </p:nvSpPr>
        <p:spPr bwMode="auto">
          <a:xfrm>
            <a:off x="539750" y="1196754"/>
            <a:ext cx="503238" cy="466042"/>
          </a:xfrm>
          <a:prstGeom prst="rect">
            <a:avLst/>
          </a:prstGeom>
          <a:solidFill>
            <a:srgbClr val="FF660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cs-CZ" sz="2400" b="1" kern="0" noProof="0" dirty="0">
                <a:solidFill>
                  <a:srgbClr val="CAD6DA"/>
                </a:solidFill>
              </a:rPr>
              <a:t>3</a:t>
            </a: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rgbClr val="CAD6DA"/>
              </a:solidFill>
              <a:effectLst/>
              <a:uLnTx/>
              <a:uFillTx/>
            </a:endParaRPr>
          </a:p>
        </p:txBody>
      </p:sp>
      <p:sp>
        <p:nvSpPr>
          <p:cNvPr id="18" name="Rectangle 6"/>
          <p:cNvSpPr>
            <a:spLocks noChangeArrowheads="1"/>
          </p:cNvSpPr>
          <p:nvPr/>
        </p:nvSpPr>
        <p:spPr bwMode="auto">
          <a:xfrm>
            <a:off x="1258888" y="1196754"/>
            <a:ext cx="7489825" cy="46604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08000" tIns="0" rIns="10800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5829300" algn="l"/>
              </a:tabLst>
            </a:pPr>
            <a:r>
              <a:rPr lang="cs-CZ" sz="14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Úskalí překladatelské činnosti II</a:t>
            </a:r>
            <a:r>
              <a:rPr lang="de-DE" sz="14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sz="1400" b="1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5" name="Picture 2" descr="https://encrypted-tbn2.gstatic.com/images?q=tbn:ANd9GcQAps4Im96K5hsf8W_tRpdKGbrc5eML6Dx7f8d_mSEyEdmRsH_mKXsx0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740352" y="1"/>
            <a:ext cx="1403647" cy="1196752"/>
          </a:xfrm>
          <a:prstGeom prst="rect">
            <a:avLst/>
          </a:prstGeom>
          <a:noFill/>
        </p:spPr>
      </p:pic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827826868"/>
              </p:ext>
            </p:extLst>
          </p:nvPr>
        </p:nvGraphicFramePr>
        <p:xfrm>
          <a:off x="1150937" y="1916832"/>
          <a:ext cx="6096000" cy="4784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2432167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White;White;-2;-2;-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18lZ3YBAkOUw3D9plKl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18lZ3YBAkOUw3D9plKl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18lZ3YBAkOUw3D9plKl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18lZ3YBAkOUw3D9plKlR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18lZ3YBAkOUw3D9plKlR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sie_ppt_tutorial_green_DE">
  <a:themeElements>
    <a:clrScheme name="1_sie_ppt_tutorial_green_DE 2">
      <a:dk1>
        <a:srgbClr val="000000"/>
      </a:dk1>
      <a:lt1>
        <a:srgbClr val="CAD6DA"/>
      </a:lt1>
      <a:dk2>
        <a:srgbClr val="889EA7"/>
      </a:dk2>
      <a:lt2>
        <a:srgbClr val="FFFFFF"/>
      </a:lt2>
      <a:accent1>
        <a:srgbClr val="A0B6C0"/>
      </a:accent1>
      <a:accent2>
        <a:srgbClr val="FF9900"/>
      </a:accent2>
      <a:accent3>
        <a:srgbClr val="E1E8EA"/>
      </a:accent3>
      <a:accent4>
        <a:srgbClr val="000000"/>
      </a:accent4>
      <a:accent5>
        <a:srgbClr val="CDD7DC"/>
      </a:accent5>
      <a:accent6>
        <a:srgbClr val="E78A00"/>
      </a:accent6>
      <a:hlink>
        <a:srgbClr val="000000"/>
      </a:hlink>
      <a:folHlink>
        <a:srgbClr val="990000"/>
      </a:folHlink>
    </a:clrScheme>
    <a:fontScheme name="3_sie_ppt_tutorial_green_DE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EFFFF"/>
        </a:solidFill>
        <a:ln w="9525" cap="flat" cmpd="sng" algn="ctr">
          <a:solidFill>
            <a:srgbClr val="009E9A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EFFFF"/>
        </a:solidFill>
        <a:ln w="9525" cap="flat" cmpd="sng" algn="ctr">
          <a:solidFill>
            <a:srgbClr val="009E9A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sie_ppt_tutorial_green_DE 1">
        <a:dk1>
          <a:srgbClr val="000000"/>
        </a:dk1>
        <a:lt1>
          <a:srgbClr val="CAD6DA"/>
        </a:lt1>
        <a:dk2>
          <a:srgbClr val="889EA7"/>
        </a:dk2>
        <a:lt2>
          <a:srgbClr val="FFFFFF"/>
        </a:lt2>
        <a:accent1>
          <a:srgbClr val="A0B6C0"/>
        </a:accent1>
        <a:accent2>
          <a:srgbClr val="FF9900"/>
        </a:accent2>
        <a:accent3>
          <a:srgbClr val="E1E8EA"/>
        </a:accent3>
        <a:accent4>
          <a:srgbClr val="000000"/>
        </a:accent4>
        <a:accent5>
          <a:srgbClr val="CDD7DC"/>
        </a:accent5>
        <a:accent6>
          <a:srgbClr val="E78A00"/>
        </a:accent6>
        <a:hlink>
          <a:srgbClr val="3366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ie_ppt_tutorial_green_DE 2">
        <a:dk1>
          <a:srgbClr val="000000"/>
        </a:dk1>
        <a:lt1>
          <a:srgbClr val="CAD6DA"/>
        </a:lt1>
        <a:dk2>
          <a:srgbClr val="889EA7"/>
        </a:dk2>
        <a:lt2>
          <a:srgbClr val="FFFFFF"/>
        </a:lt2>
        <a:accent1>
          <a:srgbClr val="A0B6C0"/>
        </a:accent1>
        <a:accent2>
          <a:srgbClr val="FF9900"/>
        </a:accent2>
        <a:accent3>
          <a:srgbClr val="E1E8EA"/>
        </a:accent3>
        <a:accent4>
          <a:srgbClr val="000000"/>
        </a:accent4>
        <a:accent5>
          <a:srgbClr val="CDD7DC"/>
        </a:accent5>
        <a:accent6>
          <a:srgbClr val="E78A00"/>
        </a:accent6>
        <a:hlink>
          <a:srgbClr val="0000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88</TotalTime>
  <Words>523</Words>
  <Application>Microsoft Office PowerPoint</Application>
  <PresentationFormat>Předvádění na obrazovce (4:3)</PresentationFormat>
  <Paragraphs>135</Paragraphs>
  <Slides>13</Slides>
  <Notes>13</Notes>
  <HiddenSlides>0</HiddenSlides>
  <MMClips>0</MMClips>
  <ScaleCrop>false</ScaleCrop>
  <HeadingPairs>
    <vt:vector size="4" baseType="variant">
      <vt:variant>
        <vt:lpstr>Motiv</vt:lpstr>
      </vt:variant>
      <vt:variant>
        <vt:i4>2</vt:i4>
      </vt:variant>
      <vt:variant>
        <vt:lpstr>Nadpisy snímků</vt:lpstr>
      </vt:variant>
      <vt:variant>
        <vt:i4>13</vt:i4>
      </vt:variant>
    </vt:vector>
  </HeadingPairs>
  <TitlesOfParts>
    <vt:vector size="15" baseType="lpstr">
      <vt:lpstr>Office Theme</vt:lpstr>
      <vt:lpstr>3_sie_ppt_tutorial_green_DE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Company>Siemen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Camecho de Azevedo Carlos</dc:creator>
  <cp:lastModifiedBy>Athena</cp:lastModifiedBy>
  <cp:revision>67</cp:revision>
  <cp:lastPrinted>2014-09-11T07:39:09Z</cp:lastPrinted>
  <dcterms:created xsi:type="dcterms:W3CDTF">2014-09-07T20:05:27Z</dcterms:created>
  <dcterms:modified xsi:type="dcterms:W3CDTF">2014-09-19T20:59:39Z</dcterms:modified>
</cp:coreProperties>
</file>